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comments/comment1.xml" ContentType="application/vnd.openxmlformats-officedocument.presentationml.comment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102" r:id="rId4"/>
  </p:sldMasterIdLst>
  <p:notesMasterIdLst>
    <p:notesMasterId r:id="rId13"/>
  </p:notesMasterIdLst>
  <p:handoutMasterIdLst>
    <p:handoutMasterId r:id="rId14"/>
  </p:handoutMasterIdLst>
  <p:sldIdLst>
    <p:sldId id="382" r:id="rId5"/>
    <p:sldId id="3483" r:id="rId6"/>
    <p:sldId id="3484" r:id="rId7"/>
    <p:sldId id="3489" r:id="rId8"/>
    <p:sldId id="3490" r:id="rId9"/>
    <p:sldId id="3491" r:id="rId10"/>
    <p:sldId id="3492" r:id="rId11"/>
    <p:sldId id="3493" r:id="rId12"/>
  </p:sldIdLst>
  <p:sldSz cx="12192000" cy="6858000"/>
  <p:notesSz cx="7315200" cy="9601200"/>
  <p:custDataLst>
    <p:tags r:id="rId15"/>
  </p:custDataLst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arteil Salih (Consultant)" initials="TS(" lastIdx="1" clrIdx="0">
    <p:extLst>
      <p:ext uri="{19B8F6BF-5375-455C-9EA6-DF929625EA0E}">
        <p15:presenceInfo xmlns:p15="http://schemas.microsoft.com/office/powerpoint/2012/main" userId="S-1-5-21-1575110632-971135871-516611687-3438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6F2FA"/>
    <a:srgbClr val="EDEFF0"/>
    <a:srgbClr val="408FCD"/>
    <a:srgbClr val="FF0000"/>
    <a:srgbClr val="FFFF00"/>
    <a:srgbClr val="000000"/>
    <a:srgbClr val="7F6700"/>
    <a:srgbClr val="FF9933"/>
    <a:srgbClr val="7F6000"/>
    <a:srgbClr val="4E352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721" autoAdjust="0"/>
    <p:restoredTop sz="93957" autoAdjust="0"/>
  </p:normalViewPr>
  <p:slideViewPr>
    <p:cSldViewPr snapToGrid="0">
      <p:cViewPr varScale="1">
        <p:scale>
          <a:sx n="93" d="100"/>
          <a:sy n="93" d="100"/>
        </p:scale>
        <p:origin x="536" y="6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30" d="100"/>
        <a:sy n="30" d="100"/>
      </p:scale>
      <p:origin x="0" y="0"/>
    </p:cViewPr>
  </p:sorterViewPr>
  <p:notesViewPr>
    <p:cSldViewPr snapToGrid="0">
      <p:cViewPr>
        <p:scale>
          <a:sx n="66" d="100"/>
          <a:sy n="66" d="100"/>
        </p:scale>
        <p:origin x="2277" y="-132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handoutMaster" Target="handoutMasters/handoutMaster1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3-01-30T09:44:06.344" idx="1">
    <p:pos x="6979" y="1842"/>
    <p:text>Email Notifications from Expo 2020 to Expo City</p:text>
    <p:extLst>
      <p:ext uri="{C676402C-5697-4E1C-873F-D02D1690AC5C}">
        <p15:threadingInfo xmlns:p15="http://schemas.microsoft.com/office/powerpoint/2012/main" timeZoneBias="-240"/>
      </p:ext>
    </p:extLs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C687289B-673D-4EE9-B77E-E0A3C3C673AE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777875" y="1200150"/>
            <a:ext cx="5759450" cy="32400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56" tIns="48328" rIns="96656" bIns="48328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39D59CE8-3D0A-43FF-97AE-5D18E223F8A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731839" y="4621214"/>
            <a:ext cx="5851525" cy="3779837"/>
          </a:xfrm>
          <a:prstGeom prst="rect">
            <a:avLst/>
          </a:prstGeom>
        </p:spPr>
        <p:txBody>
          <a:bodyPr vert="horz" lIns="96656" tIns="48328" rIns="96656" bIns="48328" rtlCol="0"/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1455738" y="946150"/>
            <a:ext cx="8420101" cy="47355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46A1C65-3CB1-4B4F-A8B5-A97012248BD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" y="9119475"/>
            <a:ext cx="3169920" cy="481727"/>
          </a:xfrm>
          <a:prstGeom prst="rect">
            <a:avLst/>
          </a:prstGeom>
        </p:spPr>
        <p:txBody>
          <a:bodyPr/>
          <a:lstStyle/>
          <a:p>
            <a:pPr defTabSz="947044">
              <a:defRPr/>
            </a:pPr>
            <a:r>
              <a:rPr lang="en-US" dirty="0">
                <a:solidFill>
                  <a:prstClr val="black"/>
                </a:solidFill>
                <a:latin typeface="Arial" pitchFamily="34" charset="0"/>
              </a:rPr>
              <a:t>Copyright © 2017 Accenture and Etisalat. All rights reserved. </a:t>
            </a:r>
            <a:endParaRPr lang="en-GB" dirty="0">
              <a:solidFill>
                <a:prstClr val="black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69171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4.xml"/><Relationship Id="rId7" Type="http://schemas.openxmlformats.org/officeDocument/2006/relationships/image" Target="../media/image4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.xml"/><Relationship Id="rId9" Type="http://schemas.openxmlformats.org/officeDocument/2006/relationships/image" Target="../media/image5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.bin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3" Type="http://schemas.openxmlformats.org/officeDocument/2006/relationships/tags" Target="../tags/tag10.xml"/><Relationship Id="rId7" Type="http://schemas.openxmlformats.org/officeDocument/2006/relationships/image" Target="../media/image4.emf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7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1.xml"/><Relationship Id="rId9" Type="http://schemas.openxmlformats.org/officeDocument/2006/relationships/image" Target="../media/image5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9.bin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.bin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2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Expo_front_cover_1b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7898" y="-9529"/>
            <a:ext cx="12207799" cy="687706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9600" y="2053696"/>
            <a:ext cx="8043333" cy="1637771"/>
          </a:xfrm>
        </p:spPr>
        <p:txBody>
          <a:bodyPr anchor="t"/>
          <a:lstStyle>
            <a:lvl1pPr algn="l">
              <a:defRPr sz="4533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9600" y="3742267"/>
            <a:ext cx="8043333" cy="609600"/>
          </a:xfrm>
        </p:spPr>
        <p:txBody>
          <a:bodyPr/>
          <a:lstStyle>
            <a:lvl1pPr marL="0" indent="0" algn="l">
              <a:buNone/>
              <a:defRPr sz="1600">
                <a:solidFill>
                  <a:schemeClr val="tx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67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4C79A66-5788-412D-B0A4-7488D62B914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9020" y="5754692"/>
            <a:ext cx="2658086" cy="9022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073967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048256"/>
            <a:ext cx="8532283" cy="1820861"/>
          </a:xfrm>
        </p:spPr>
        <p:txBody>
          <a:bodyPr vert="horz" lIns="0" tIns="45720" rIns="0" bIns="45720" rtlCol="0" anchor="t">
            <a:noAutofit/>
          </a:bodyPr>
          <a:lstStyle>
            <a:lvl1pPr>
              <a:defRPr lang="en-US" sz="4533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8610600" y="4815840"/>
            <a:ext cx="3048000" cy="1981200"/>
          </a:xfrm>
        </p:spPr>
        <p:txBody>
          <a:bodyPr/>
          <a:lstStyle>
            <a:lvl1pPr marL="0" indent="0" algn="r">
              <a:buNone/>
              <a:defRPr sz="13333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19754221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9600" y="2053696"/>
            <a:ext cx="8043333" cy="1637771"/>
          </a:xfrm>
        </p:spPr>
        <p:txBody>
          <a:bodyPr anchor="t"/>
          <a:lstStyle>
            <a:lvl1pPr algn="l">
              <a:defRPr sz="4533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9600" y="3742267"/>
            <a:ext cx="8043333" cy="609600"/>
          </a:xfrm>
        </p:spPr>
        <p:txBody>
          <a:bodyPr/>
          <a:lstStyle>
            <a:lvl1pPr marL="0" indent="0" algn="l">
              <a:buNone/>
              <a:defRPr sz="1600">
                <a:solidFill>
                  <a:srgbClr val="FFFFFF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67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365997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ack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3497360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6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508000" y="1197231"/>
            <a:ext cx="11220171" cy="4928932"/>
          </a:xfrm>
        </p:spPr>
        <p:txBody>
          <a:bodyPr/>
          <a:lstStyle>
            <a:lvl3pPr>
              <a:buFont typeface="Arial" pitchFamily="34" charset="0"/>
              <a:buChar char="–"/>
              <a:defRPr/>
            </a:lvl3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23" name="Title 2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7788639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3420425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569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11" name="Object 1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050522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468462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>
            <a:extLst>
              <a:ext uri="{FF2B5EF4-FFF2-40B4-BE49-F238E27FC236}">
                <a16:creationId xmlns:a16="http://schemas.microsoft.com/office/drawing/2014/main" id="{570A440A-061C-401F-8287-958FDAAF2A8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1162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4" name="Object 1" hidden="1">
                        <a:extLst>
                          <a:ext uri="{FF2B5EF4-FFF2-40B4-BE49-F238E27FC236}">
                            <a16:creationId xmlns:a16="http://schemas.microsoft.com/office/drawing/2014/main" id="{570A440A-061C-401F-8287-958FDAAF2A8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Object 6" hidden="1">
            <a:extLst>
              <a:ext uri="{FF2B5EF4-FFF2-40B4-BE49-F238E27FC236}">
                <a16:creationId xmlns:a16="http://schemas.microsoft.com/office/drawing/2014/main" id="{2DA99B5D-FB7D-47EA-AC93-CEE8E85AA5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1163" name="think-cell Slide" r:id="rId8" imgW="444" imgH="443" progId="TCLayout.ActiveDocument.1">
                  <p:embed/>
                </p:oleObj>
              </mc:Choice>
              <mc:Fallback>
                <p:oleObj name="think-cell Slide" r:id="rId8" imgW="444" imgH="443" progId="TCLayout.ActiveDocument.1">
                  <p:embed/>
                  <p:pic>
                    <p:nvPicPr>
                      <p:cNvPr id="6" name="Object 6" hidden="1">
                        <a:extLst>
                          <a:ext uri="{FF2B5EF4-FFF2-40B4-BE49-F238E27FC236}">
                            <a16:creationId xmlns:a16="http://schemas.microsoft.com/office/drawing/2014/main" id="{2DA99B5D-FB7D-47EA-AC93-CEE8E85AA5D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46208B09-3EFC-410D-BDC0-55FFA966A3B0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auto">
          <a:xfrm>
            <a:off x="0" y="0"/>
            <a:ext cx="282222" cy="89297"/>
          </a:xfrm>
          <a:prstGeom prst="rect">
            <a:avLst/>
          </a:prstGeom>
          <a:solidFill>
            <a:schemeClr val="accent3"/>
          </a:solidFill>
          <a:ln w="3175">
            <a:solidFill>
              <a:schemeClr val="accent3"/>
            </a:solidFill>
            <a:miter lim="800000"/>
            <a:headEnd type="none" w="sm" len="sm"/>
            <a:tailEnd type="none" w="sm" len="sm"/>
          </a:ln>
          <a:effectLst/>
          <a:scene3d>
            <a:camera prst="orthographicFront"/>
            <a:lightRig rig="legacyFlat3" dir="b"/>
          </a:scene3d>
          <a:sp3d extrusionH="430200" prstMaterial="legacyMatte">
            <a:extrusionClr>
              <a:srgbClr val="0099CC"/>
            </a:extrusionClr>
          </a:sp3d>
        </p:spPr>
        <p:txBody>
          <a:bodyPr wrap="none" lIns="0" tIns="0" rIns="0" bIns="0" anchor="ctr">
            <a:flatTx/>
          </a:bodyPr>
          <a:lstStyle/>
          <a:p>
            <a:pPr algn="ctr" eaLnBrk="1" fontAlgn="auto" hangingPunct="1">
              <a:defRPr/>
            </a:pPr>
            <a:endParaRPr lang="en-US" sz="2798" dirty="0">
              <a:solidFill>
                <a:schemeClr val="bg1"/>
              </a:solidFill>
              <a:latin typeface="Expo"/>
              <a:cs typeface="Arial" panose="020B0604020202020204" pitchFamily="34" charset="0"/>
              <a:sym typeface="Expo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08637" y="109784"/>
            <a:ext cx="10948276" cy="649207"/>
          </a:xfrm>
          <a:prstGeom prst="rect">
            <a:avLst/>
          </a:prstGeom>
        </p:spPr>
        <p:txBody>
          <a:bodyPr/>
          <a:lstStyle>
            <a:lvl1pPr>
              <a:defRPr>
                <a:latin typeface="Expo"/>
              </a:defRPr>
            </a:lvl1pPr>
          </a:lstStyle>
          <a:p>
            <a:r>
              <a:rPr lang="en-US" dirty="0"/>
              <a:t>Click to edit Master title style</a:t>
            </a:r>
            <a:endParaRPr lang="en-AU" dirty="0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E2D5EB73-A062-4914-9EEE-F182BF63D6A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12196" y="616890"/>
            <a:ext cx="9651004" cy="373711"/>
          </a:xfrm>
        </p:spPr>
        <p:txBody>
          <a:bodyPr/>
          <a:lstStyle>
            <a:lvl1pPr marL="0" indent="0">
              <a:buNone/>
              <a:defRPr sz="2400">
                <a:solidFill>
                  <a:schemeClr val="accent1"/>
                </a:solidFill>
                <a:latin typeface="Expo"/>
              </a:defRPr>
            </a:lvl1pPr>
            <a:lvl2pPr marL="182529" indent="0">
              <a:buNone/>
              <a:defRPr sz="2400">
                <a:solidFill>
                  <a:schemeClr val="accent1"/>
                </a:solidFill>
              </a:defRPr>
            </a:lvl2pPr>
            <a:lvl3pPr marL="449177" indent="0">
              <a:buNone/>
              <a:defRPr sz="2400">
                <a:solidFill>
                  <a:schemeClr val="accent1"/>
                </a:solidFill>
              </a:defRPr>
            </a:lvl3pPr>
            <a:lvl4pPr marL="625357" indent="0">
              <a:buNone/>
              <a:defRPr sz="2400">
                <a:solidFill>
                  <a:schemeClr val="accent1"/>
                </a:solidFill>
              </a:defRPr>
            </a:lvl4pPr>
            <a:lvl5pPr marL="898356" indent="0">
              <a:buNone/>
              <a:defRPr sz="24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6B5AADFF-2EDB-4B79-A264-CFA3DBC2BCA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 flipH="1">
            <a:off x="10887075" y="6537325"/>
            <a:ext cx="677863" cy="1619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4F0B7CD-5D75-4651-B287-783E59F6695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71022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>
            <a:extLst>
              <a:ext uri="{FF2B5EF4-FFF2-40B4-BE49-F238E27FC236}">
                <a16:creationId xmlns:a16="http://schemas.microsoft.com/office/drawing/2014/main" id="{652B6EF0-C9B1-4F74-8852-9DE3B6F0B97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55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" name="Object 1" hidden="1">
                        <a:extLst>
                          <a:ext uri="{FF2B5EF4-FFF2-40B4-BE49-F238E27FC236}">
                            <a16:creationId xmlns:a16="http://schemas.microsoft.com/office/drawing/2014/main" id="{652B6EF0-C9B1-4F74-8852-9DE3B6F0B970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4"/>
          <p:cNvSpPr>
            <a:spLocks noGrp="1"/>
          </p:cNvSpPr>
          <p:nvPr>
            <p:ph type="title"/>
          </p:nvPr>
        </p:nvSpPr>
        <p:spPr>
          <a:xfrm>
            <a:off x="608639" y="7"/>
            <a:ext cx="10948276" cy="649207"/>
          </a:xfrm>
          <a:prstGeom prst="rect">
            <a:avLst/>
          </a:prstGeom>
        </p:spPr>
        <p:txBody>
          <a:bodyPr/>
          <a:lstStyle>
            <a:lvl1pPr>
              <a:defRPr>
                <a:latin typeface="Expo"/>
              </a:defRPr>
            </a:lvl1pPr>
          </a:lstStyle>
          <a:p>
            <a:r>
              <a:rPr lang="en-US" dirty="0"/>
              <a:t>Click to edit Master title style</a:t>
            </a:r>
            <a:endParaRPr lang="en-AU" dirty="0"/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2E424782-0D77-45E8-AB20-B7E49DD4E61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 flipH="1">
            <a:off x="10887075" y="6537325"/>
            <a:ext cx="677863" cy="1619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E2AA29E-30EE-4A38-A87C-2197DF0DDE2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55751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>
            <a:extLst>
              <a:ext uri="{FF2B5EF4-FFF2-40B4-BE49-F238E27FC236}">
                <a16:creationId xmlns:a16="http://schemas.microsoft.com/office/drawing/2014/main" id="{CD3B9193-69E3-460D-8D9D-413B9FDDDBC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57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1" hidden="1">
                        <a:extLst>
                          <a:ext uri="{FF2B5EF4-FFF2-40B4-BE49-F238E27FC236}">
                            <a16:creationId xmlns:a16="http://schemas.microsoft.com/office/drawing/2014/main" id="{CD3B9193-69E3-460D-8D9D-413B9FDDDBC0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08637" y="109784"/>
            <a:ext cx="10948276" cy="649207"/>
          </a:xfrm>
          <a:prstGeom prst="rect">
            <a:avLst/>
          </a:prstGeom>
        </p:spPr>
        <p:txBody>
          <a:bodyPr/>
          <a:lstStyle>
            <a:lvl1pPr>
              <a:defRPr>
                <a:latin typeface="Expo"/>
              </a:defRPr>
            </a:lvl1pPr>
          </a:lstStyle>
          <a:p>
            <a:r>
              <a:rPr lang="en-US" dirty="0"/>
              <a:t>Click to edit Master title style</a:t>
            </a:r>
            <a:endParaRPr lang="en-AU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608637" y="841126"/>
            <a:ext cx="10948276" cy="395908"/>
          </a:xfrm>
        </p:spPr>
        <p:txBody>
          <a:bodyPr/>
          <a:lstStyle>
            <a:lvl1pPr marL="0" indent="0">
              <a:buNone/>
              <a:defRPr sz="2400">
                <a:solidFill>
                  <a:schemeClr val="accent1"/>
                </a:solidFill>
                <a:latin typeface="Expo"/>
              </a:defRPr>
            </a:lvl1pPr>
            <a:lvl2pPr marL="182529" indent="0">
              <a:buNone/>
              <a:defRPr sz="2400">
                <a:solidFill>
                  <a:schemeClr val="accent1"/>
                </a:solidFill>
              </a:defRPr>
            </a:lvl2pPr>
            <a:lvl3pPr marL="449177" indent="0">
              <a:buNone/>
              <a:defRPr sz="2400">
                <a:solidFill>
                  <a:schemeClr val="accent1"/>
                </a:solidFill>
              </a:defRPr>
            </a:lvl3pPr>
            <a:lvl4pPr marL="625357" indent="0">
              <a:buNone/>
              <a:defRPr sz="2400">
                <a:solidFill>
                  <a:schemeClr val="accent1"/>
                </a:solidFill>
              </a:defRPr>
            </a:lvl4pPr>
            <a:lvl5pPr marL="898356" indent="0">
              <a:buNone/>
              <a:defRPr sz="24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E30414ED-77C3-40DF-AC59-A4D495C870B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 flipH="1">
            <a:off x="10887075" y="6537325"/>
            <a:ext cx="677863" cy="1619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7E9BAD8-AF52-4AB5-8860-AF53938F345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21839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14683" y="441326"/>
            <a:ext cx="10962635" cy="43548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1" hasCustomPrompt="1"/>
          </p:nvPr>
        </p:nvSpPr>
        <p:spPr>
          <a:xfrm>
            <a:off x="614683" y="788487"/>
            <a:ext cx="10961368" cy="503299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en-US" sz="2133" smtClean="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  <a:lvl2pPr>
              <a:defRPr lang="en-US" smtClean="0">
                <a:solidFill>
                  <a:schemeClr val="bg2"/>
                </a:solidFill>
              </a:defRPr>
            </a:lvl2pPr>
            <a:lvl3pPr>
              <a:defRPr lang="en-US" smtClean="0">
                <a:solidFill>
                  <a:schemeClr val="bg2"/>
                </a:solidFill>
              </a:defRPr>
            </a:lvl3pPr>
            <a:lvl4pPr>
              <a:defRPr lang="en-US" smtClean="0">
                <a:solidFill>
                  <a:schemeClr val="bg2"/>
                </a:solidFill>
              </a:defRPr>
            </a:lvl4pPr>
            <a:lvl5pPr>
              <a:defRPr lang="en-US">
                <a:solidFill>
                  <a:schemeClr val="bg2"/>
                </a:solidFill>
              </a:defRPr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dirty="0"/>
              <a:t>Slide sub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180052800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>
            <a:extLst>
              <a:ext uri="{FF2B5EF4-FFF2-40B4-BE49-F238E27FC236}">
                <a16:creationId xmlns:a16="http://schemas.microsoft.com/office/drawing/2014/main" id="{A8F47102-D1C2-4CE5-85E5-85A27CE3E83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59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" name="Object 1" hidden="1">
                        <a:extLst>
                          <a:ext uri="{FF2B5EF4-FFF2-40B4-BE49-F238E27FC236}">
                            <a16:creationId xmlns:a16="http://schemas.microsoft.com/office/drawing/2014/main" id="{A8F47102-D1C2-4CE5-85E5-85A27CE3E83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4"/>
          <p:cNvSpPr>
            <a:spLocks noGrp="1"/>
          </p:cNvSpPr>
          <p:nvPr>
            <p:ph type="title"/>
          </p:nvPr>
        </p:nvSpPr>
        <p:spPr>
          <a:xfrm>
            <a:off x="608639" y="7"/>
            <a:ext cx="10948276" cy="649207"/>
          </a:xfrm>
          <a:prstGeom prst="rect">
            <a:avLst/>
          </a:prstGeom>
        </p:spPr>
        <p:txBody>
          <a:bodyPr/>
          <a:lstStyle>
            <a:lvl1pPr>
              <a:defRPr>
                <a:latin typeface="Expo"/>
              </a:defRPr>
            </a:lvl1pPr>
          </a:lstStyle>
          <a:p>
            <a:r>
              <a:rPr lang="en-US" dirty="0"/>
              <a:t>Click to edit Master title style</a:t>
            </a:r>
            <a:endParaRPr lang="en-AU" dirty="0"/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8ED5BAB0-4D6C-4DE4-9D4C-54E1B81F267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 flipH="1">
            <a:off x="10887075" y="6537325"/>
            <a:ext cx="677863" cy="1619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6F5D4F8-9FDC-440B-8ED0-75525F37F62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873509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0EA9AB66-7F6B-4DE5-BBD5-60D364A0D73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 flipH="1">
            <a:off x="10887075" y="6537325"/>
            <a:ext cx="677863" cy="1619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D86E872-59A4-4DF4-A3C1-38164480E7C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540033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>
            <a:extLst>
              <a:ext uri="{FF2B5EF4-FFF2-40B4-BE49-F238E27FC236}">
                <a16:creationId xmlns:a16="http://schemas.microsoft.com/office/drawing/2014/main" id="{EFB247BF-C85C-4586-9440-F89F0FEE01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2186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4" name="Object 1" hidden="1">
                        <a:extLst>
                          <a:ext uri="{FF2B5EF4-FFF2-40B4-BE49-F238E27FC236}">
                            <a16:creationId xmlns:a16="http://schemas.microsoft.com/office/drawing/2014/main" id="{EFB247BF-C85C-4586-9440-F89F0FEE01A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Object 6" hidden="1">
            <a:extLst>
              <a:ext uri="{FF2B5EF4-FFF2-40B4-BE49-F238E27FC236}">
                <a16:creationId xmlns:a16="http://schemas.microsoft.com/office/drawing/2014/main" id="{06FD48AE-2747-4060-B445-AECC7B92FB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2187" name="think-cell Slide" r:id="rId8" imgW="444" imgH="443" progId="TCLayout.ActiveDocument.1">
                  <p:embed/>
                </p:oleObj>
              </mc:Choice>
              <mc:Fallback>
                <p:oleObj name="think-cell Slide" r:id="rId8" imgW="444" imgH="443" progId="TCLayout.ActiveDocument.1">
                  <p:embed/>
                  <p:pic>
                    <p:nvPicPr>
                      <p:cNvPr id="6" name="Object 6" hidden="1">
                        <a:extLst>
                          <a:ext uri="{FF2B5EF4-FFF2-40B4-BE49-F238E27FC236}">
                            <a16:creationId xmlns:a16="http://schemas.microsoft.com/office/drawing/2014/main" id="{06FD48AE-2747-4060-B445-AECC7B92FB2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3CF71D96-FE9E-42EE-A341-88AE35A13224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3175">
            <a:solidFill>
              <a:schemeClr val="accent3"/>
            </a:solidFill>
            <a:miter lim="800000"/>
            <a:headEnd type="none" w="sm" len="sm"/>
            <a:tailEnd type="none" w="sm" len="sm"/>
          </a:ln>
          <a:effectLst/>
          <a:scene3d>
            <a:camera prst="orthographicFront"/>
            <a:lightRig rig="legacyFlat3" dir="b"/>
          </a:scene3d>
          <a:sp3d extrusionH="430200" prstMaterial="legacyMatte">
            <a:extrusionClr>
              <a:srgbClr val="0099CC"/>
            </a:extrusionClr>
          </a:sp3d>
        </p:spPr>
        <p:txBody>
          <a:bodyPr wrap="none" lIns="0" tIns="0" rIns="0" bIns="0" anchor="ctr">
            <a:flatTx/>
          </a:bodyPr>
          <a:lstStyle/>
          <a:p>
            <a:pPr algn="ctr" eaLnBrk="1" fontAlgn="auto" hangingPunct="1">
              <a:defRPr/>
            </a:pPr>
            <a:endParaRPr lang="en-US" sz="2798" dirty="0">
              <a:solidFill>
                <a:schemeClr val="bg1"/>
              </a:solidFill>
              <a:latin typeface="Expo"/>
              <a:cs typeface="Arial" panose="020B0604020202020204" pitchFamily="34" charset="0"/>
              <a:sym typeface="Expo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08637" y="109784"/>
            <a:ext cx="10948276" cy="649207"/>
          </a:xfrm>
          <a:prstGeom prst="rect">
            <a:avLst/>
          </a:prstGeom>
        </p:spPr>
        <p:txBody>
          <a:bodyPr/>
          <a:lstStyle>
            <a:lvl1pPr>
              <a:defRPr>
                <a:latin typeface="Expo"/>
              </a:defRPr>
            </a:lvl1pPr>
          </a:lstStyle>
          <a:p>
            <a:r>
              <a:rPr lang="en-US" dirty="0"/>
              <a:t>Click to edit Master title style</a:t>
            </a:r>
            <a:endParaRPr lang="en-AU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608637" y="841126"/>
            <a:ext cx="10948276" cy="395908"/>
          </a:xfrm>
        </p:spPr>
        <p:txBody>
          <a:bodyPr/>
          <a:lstStyle>
            <a:lvl1pPr marL="0" indent="0">
              <a:buNone/>
              <a:defRPr sz="2400">
                <a:solidFill>
                  <a:schemeClr val="accent1"/>
                </a:solidFill>
                <a:latin typeface="Expo"/>
              </a:defRPr>
            </a:lvl1pPr>
            <a:lvl2pPr marL="182529" indent="0">
              <a:buNone/>
              <a:defRPr sz="2400">
                <a:solidFill>
                  <a:schemeClr val="accent1"/>
                </a:solidFill>
              </a:defRPr>
            </a:lvl2pPr>
            <a:lvl3pPr marL="449177" indent="0">
              <a:buNone/>
              <a:defRPr sz="2400">
                <a:solidFill>
                  <a:schemeClr val="accent1"/>
                </a:solidFill>
              </a:defRPr>
            </a:lvl3pPr>
            <a:lvl4pPr marL="625357" indent="0">
              <a:buNone/>
              <a:defRPr sz="2400">
                <a:solidFill>
                  <a:schemeClr val="accent1"/>
                </a:solidFill>
              </a:defRPr>
            </a:lvl4pPr>
            <a:lvl5pPr marL="898356" indent="0">
              <a:buNone/>
              <a:defRPr sz="24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530F68CC-6F6C-41FC-8715-03D7A4C794D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 flipH="1">
            <a:off x="10887075" y="6537325"/>
            <a:ext cx="677863" cy="1619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F21F92D-D837-41EE-A787-DB427C34435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8783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>
            <a:extLst>
              <a:ext uri="{FF2B5EF4-FFF2-40B4-BE49-F238E27FC236}">
                <a16:creationId xmlns:a16="http://schemas.microsoft.com/office/drawing/2014/main" id="{E4F994C4-02A8-4F8E-8216-490949DD558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62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" name="Object 1" hidden="1">
                        <a:extLst>
                          <a:ext uri="{FF2B5EF4-FFF2-40B4-BE49-F238E27FC236}">
                            <a16:creationId xmlns:a16="http://schemas.microsoft.com/office/drawing/2014/main" id="{E4F994C4-02A8-4F8E-8216-490949DD558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4"/>
          <p:cNvSpPr>
            <a:spLocks noGrp="1"/>
          </p:cNvSpPr>
          <p:nvPr>
            <p:ph type="title"/>
          </p:nvPr>
        </p:nvSpPr>
        <p:spPr>
          <a:xfrm>
            <a:off x="608639" y="7"/>
            <a:ext cx="10948276" cy="649207"/>
          </a:xfrm>
          <a:prstGeom prst="rect">
            <a:avLst/>
          </a:prstGeom>
        </p:spPr>
        <p:txBody>
          <a:bodyPr/>
          <a:lstStyle>
            <a:lvl1pPr>
              <a:defRPr>
                <a:latin typeface="Expo"/>
              </a:defRPr>
            </a:lvl1pPr>
          </a:lstStyle>
          <a:p>
            <a:r>
              <a:rPr lang="en-US" dirty="0"/>
              <a:t>Click to edit Master title style</a:t>
            </a:r>
            <a:endParaRPr lang="en-AU" dirty="0"/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18782CA1-E423-4BE8-80FB-BDD74E44A7E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 flipH="1">
            <a:off x="10887075" y="6537325"/>
            <a:ext cx="677863" cy="1619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2174E8A-B900-47DE-9784-E635DE0685B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84041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3501DDF6-1178-42BC-A5F8-726027AE1C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 flipH="1">
            <a:off x="10887075" y="6537325"/>
            <a:ext cx="677863" cy="1619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6F873FE-E513-4350-A41B-216D01DC846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917546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>
            <a:extLst>
              <a:ext uri="{FF2B5EF4-FFF2-40B4-BE49-F238E27FC236}">
                <a16:creationId xmlns:a16="http://schemas.microsoft.com/office/drawing/2014/main" id="{F83D03EE-02D1-4362-900C-6496CAFE9E2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364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1" hidden="1">
                        <a:extLst>
                          <a:ext uri="{FF2B5EF4-FFF2-40B4-BE49-F238E27FC236}">
                            <a16:creationId xmlns:a16="http://schemas.microsoft.com/office/drawing/2014/main" id="{F83D03EE-02D1-4362-900C-6496CAFE9E2E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08637" y="109784"/>
            <a:ext cx="10948276" cy="649207"/>
          </a:xfrm>
          <a:prstGeom prst="rect">
            <a:avLst/>
          </a:prstGeom>
        </p:spPr>
        <p:txBody>
          <a:bodyPr/>
          <a:lstStyle>
            <a:lvl1pPr>
              <a:defRPr>
                <a:latin typeface="Expo"/>
              </a:defRPr>
            </a:lvl1pPr>
          </a:lstStyle>
          <a:p>
            <a:r>
              <a:rPr lang="en-US" dirty="0"/>
              <a:t>Click to edit Master title style</a:t>
            </a:r>
            <a:endParaRPr lang="en-AU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608637" y="841126"/>
            <a:ext cx="10948276" cy="395908"/>
          </a:xfrm>
        </p:spPr>
        <p:txBody>
          <a:bodyPr/>
          <a:lstStyle>
            <a:lvl1pPr marL="0" indent="0">
              <a:buNone/>
              <a:defRPr sz="2400">
                <a:solidFill>
                  <a:schemeClr val="accent1"/>
                </a:solidFill>
                <a:latin typeface="Expo"/>
              </a:defRPr>
            </a:lvl1pPr>
            <a:lvl2pPr marL="182529" indent="0">
              <a:buNone/>
              <a:defRPr sz="2400">
                <a:solidFill>
                  <a:schemeClr val="accent1"/>
                </a:solidFill>
              </a:defRPr>
            </a:lvl2pPr>
            <a:lvl3pPr marL="449177" indent="0">
              <a:buNone/>
              <a:defRPr sz="2400">
                <a:solidFill>
                  <a:schemeClr val="accent1"/>
                </a:solidFill>
              </a:defRPr>
            </a:lvl3pPr>
            <a:lvl4pPr marL="625357" indent="0">
              <a:buNone/>
              <a:defRPr sz="2400">
                <a:solidFill>
                  <a:schemeClr val="accent1"/>
                </a:solidFill>
              </a:defRPr>
            </a:lvl4pPr>
            <a:lvl5pPr marL="898356" indent="0">
              <a:buNone/>
              <a:defRPr sz="24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35B1F64B-AE8E-4FB6-9389-21F92CF5EBF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 flipH="1">
            <a:off x="10887075" y="6537325"/>
            <a:ext cx="677863" cy="1619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E41B3D4-A213-44F0-9B57-96E2BC55CCC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58167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>
            <a:extLst>
              <a:ext uri="{FF2B5EF4-FFF2-40B4-BE49-F238E27FC236}">
                <a16:creationId xmlns:a16="http://schemas.microsoft.com/office/drawing/2014/main" id="{C3FED450-D447-4886-BA25-82A14CAFBDB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467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" name="Object 1" hidden="1">
                        <a:extLst>
                          <a:ext uri="{FF2B5EF4-FFF2-40B4-BE49-F238E27FC236}">
                            <a16:creationId xmlns:a16="http://schemas.microsoft.com/office/drawing/2014/main" id="{C3FED450-D447-4886-BA25-82A14CAFBDB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4"/>
          <p:cNvSpPr>
            <a:spLocks noGrp="1"/>
          </p:cNvSpPr>
          <p:nvPr>
            <p:ph type="title"/>
          </p:nvPr>
        </p:nvSpPr>
        <p:spPr>
          <a:xfrm>
            <a:off x="608639" y="7"/>
            <a:ext cx="10948276" cy="649207"/>
          </a:xfrm>
          <a:prstGeom prst="rect">
            <a:avLst/>
          </a:prstGeom>
        </p:spPr>
        <p:txBody>
          <a:bodyPr/>
          <a:lstStyle>
            <a:lvl1pPr>
              <a:defRPr>
                <a:latin typeface="Expo"/>
              </a:defRPr>
            </a:lvl1pPr>
          </a:lstStyle>
          <a:p>
            <a:r>
              <a:rPr lang="en-US" dirty="0"/>
              <a:t>Click to edit Master title style</a:t>
            </a:r>
            <a:endParaRPr lang="en-AU" dirty="0"/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35A8FBAA-65D6-430D-8727-64BFE9967B7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 flipH="1">
            <a:off x="10887075" y="6537325"/>
            <a:ext cx="677863" cy="1619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37ADB4E-D667-408A-88B9-33C5559A156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34412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E351F381-3D44-447E-BF48-436638F334A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 flipH="1">
            <a:off x="10887075" y="6537325"/>
            <a:ext cx="677863" cy="1619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E51BEF0-F352-45E6-BCB0-6618CAC6621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567848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5775582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745589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4683" y="1486959"/>
            <a:ext cx="5279136" cy="4242859"/>
          </a:xfrm>
        </p:spPr>
        <p:txBody>
          <a:bodyPr/>
          <a:lstStyle>
            <a:lvl1pPr marL="152396" indent="-152396">
              <a:defRPr sz="1600"/>
            </a:lvl1pPr>
            <a:lvl2pPr marL="304792" indent="-152396"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181" y="1486959"/>
            <a:ext cx="5279136" cy="4242859"/>
          </a:xfrm>
        </p:spPr>
        <p:txBody>
          <a:bodyPr vert="horz" lIns="0" tIns="45720" rIns="0" bIns="45720" rtlCol="0">
            <a:noAutofit/>
          </a:bodyPr>
          <a:lstStyle>
            <a:lvl1pPr>
              <a:defRPr lang="en-US" sz="1600" dirty="0" smtClean="0"/>
            </a:lvl1pPr>
            <a:lvl2pPr>
              <a:defRPr lang="en-US" sz="1600" dirty="0" smtClean="0"/>
            </a:lvl2pPr>
          </a:lstStyle>
          <a:p>
            <a:pPr marL="152396" lvl="0" indent="-152396"/>
            <a:r>
              <a:rPr lang="en-US"/>
              <a:t>Click to edit Master text styles</a:t>
            </a:r>
          </a:p>
          <a:p>
            <a:pPr marL="152396" lvl="1" indent="-152396"/>
            <a:r>
              <a:rPr lang="en-US"/>
              <a:t>Second level</a:t>
            </a: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5"/>
          <p:cNvSpPr>
            <a:spLocks noGrp="1"/>
          </p:cNvSpPr>
          <p:nvPr>
            <p:ph sz="quarter" idx="11" hasCustomPrompt="1"/>
          </p:nvPr>
        </p:nvSpPr>
        <p:spPr>
          <a:xfrm>
            <a:off x="614683" y="788487"/>
            <a:ext cx="10961368" cy="503299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en-US" sz="2133" smtClean="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  <a:lvl2pPr>
              <a:defRPr lang="en-US" smtClean="0">
                <a:solidFill>
                  <a:schemeClr val="bg2"/>
                </a:solidFill>
              </a:defRPr>
            </a:lvl2pPr>
            <a:lvl3pPr>
              <a:defRPr lang="en-US" smtClean="0">
                <a:solidFill>
                  <a:schemeClr val="bg2"/>
                </a:solidFill>
              </a:defRPr>
            </a:lvl3pPr>
            <a:lvl4pPr>
              <a:defRPr lang="en-US" smtClean="0">
                <a:solidFill>
                  <a:schemeClr val="bg2"/>
                </a:solidFill>
              </a:defRPr>
            </a:lvl4pPr>
            <a:lvl5pPr>
              <a:defRPr lang="en-US">
                <a:solidFill>
                  <a:schemeClr val="bg2"/>
                </a:solidFill>
              </a:defRPr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dirty="0"/>
              <a:t>Slide sub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403518318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D322531-CBEB-48F6-B034-E359B636FBA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3178" name="think-cell Slide" r:id="rId4" imgW="444" imgH="443" progId="TCLayout.ActiveDocument.1">
                  <p:embed/>
                </p:oleObj>
              </mc:Choice>
              <mc:Fallback>
                <p:oleObj name="think-cell Slide" r:id="rId4" imgW="444" imgH="44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D322531-CBEB-48F6-B034-E359B636FB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4"/>
          <p:cNvSpPr>
            <a:spLocks noGrp="1"/>
          </p:cNvSpPr>
          <p:nvPr>
            <p:ph type="title"/>
          </p:nvPr>
        </p:nvSpPr>
        <p:spPr>
          <a:xfrm>
            <a:off x="608399" y="162061"/>
            <a:ext cx="9952755" cy="434175"/>
          </a:xfrm>
          <a:prstGeom prst="rect">
            <a:avLst/>
          </a:prstGeom>
        </p:spPr>
        <p:txBody>
          <a:bodyPr tIns="0" bIns="0" anchor="ctr" anchorCtr="0">
            <a:normAutofit/>
          </a:bodyPr>
          <a:lstStyle>
            <a:lvl1pPr>
              <a:defRPr sz="2800"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AU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608399" y="620780"/>
            <a:ext cx="9952755" cy="381044"/>
          </a:xfrm>
        </p:spPr>
        <p:txBody>
          <a:bodyPr tIns="0" bIns="0"/>
          <a:lstStyle>
            <a:lvl1pPr marL="0" indent="0">
              <a:buNone/>
              <a:defRPr sz="2400">
                <a:solidFill>
                  <a:schemeClr val="accent4"/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182563" indent="0">
              <a:buNone/>
              <a:defRPr sz="2400">
                <a:solidFill>
                  <a:schemeClr val="accent1"/>
                </a:solidFill>
              </a:defRPr>
            </a:lvl2pPr>
            <a:lvl3pPr marL="449262" indent="0">
              <a:buNone/>
              <a:defRPr sz="2400">
                <a:solidFill>
                  <a:schemeClr val="accent1"/>
                </a:solidFill>
              </a:defRPr>
            </a:lvl3pPr>
            <a:lvl4pPr marL="625475" indent="0">
              <a:buNone/>
              <a:defRPr sz="2400">
                <a:solidFill>
                  <a:schemeClr val="accent1"/>
                </a:solidFill>
              </a:defRPr>
            </a:lvl4pPr>
            <a:lvl5pPr marL="898525" indent="0">
              <a:buNone/>
              <a:defRPr sz="24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Rectangle 2"/>
          <p:cNvSpPr/>
          <p:nvPr userDrawn="1"/>
        </p:nvSpPr>
        <p:spPr>
          <a:xfrm>
            <a:off x="11069793" y="6506278"/>
            <a:ext cx="351378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3F337EE9-4357-F44A-8287-1176D243A32B}" type="slidenum">
              <a:rPr lang="en-GB" sz="1100" i="0" kern="1200" smtClean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pPr/>
              <a:t>‹#›</a:t>
            </a:fld>
            <a:endParaRPr lang="en-GB" sz="1100" i="0" kern="1200" dirty="0">
              <a:solidFill>
                <a:schemeClr val="bg1">
                  <a:lumMod val="75000"/>
                </a:schemeClr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185561DB-A102-4AE4-AC97-CD9690752220}"/>
              </a:ext>
            </a:extLst>
          </p:cNvPr>
          <p:cNvSpPr/>
          <p:nvPr userDrawn="1"/>
        </p:nvSpPr>
        <p:spPr>
          <a:xfrm>
            <a:off x="0" y="5832764"/>
            <a:ext cx="2729345" cy="102523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2" name="Picture 11" descr="A picture containing toy, clock&#10;&#10;Description automatically generated">
            <a:extLst>
              <a:ext uri="{FF2B5EF4-FFF2-40B4-BE49-F238E27FC236}">
                <a16:creationId xmlns:a16="http://schemas.microsoft.com/office/drawing/2014/main" id="{D620375F-113C-4A89-B543-A43EBD1D994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344784"/>
            <a:ext cx="911574" cy="513216"/>
          </a:xfrm>
          <a:prstGeom prst="rect">
            <a:avLst/>
          </a:prstGeom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B5003D05-58D2-4A0B-AA30-EAB12652E581}"/>
              </a:ext>
            </a:extLst>
          </p:cNvPr>
          <p:cNvCxnSpPr>
            <a:cxnSpLocks/>
          </p:cNvCxnSpPr>
          <p:nvPr userDrawn="1"/>
        </p:nvCxnSpPr>
        <p:spPr>
          <a:xfrm>
            <a:off x="5230837" y="6506278"/>
            <a:ext cx="0" cy="24439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Oval 13">
            <a:extLst>
              <a:ext uri="{FF2B5EF4-FFF2-40B4-BE49-F238E27FC236}">
                <a16:creationId xmlns:a16="http://schemas.microsoft.com/office/drawing/2014/main" id="{242040D0-B7AD-43EA-B00D-767B76B4298E}"/>
              </a:ext>
            </a:extLst>
          </p:cNvPr>
          <p:cNvSpPr/>
          <p:nvPr userDrawn="1"/>
        </p:nvSpPr>
        <p:spPr bwMode="auto">
          <a:xfrm>
            <a:off x="5351182" y="6453537"/>
            <a:ext cx="351378" cy="297140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3175">
            <a:solidFill>
              <a:srgbClr val="FFFF00"/>
            </a:solidFill>
            <a:miter lim="800000"/>
            <a:headEnd type="none" w="sm" len="sm"/>
            <a:tailEnd type="none" w="sm" len="sm"/>
          </a:ln>
          <a:effectLst>
            <a:glow rad="139700">
              <a:schemeClr val="accent6">
                <a:satMod val="175000"/>
                <a:alpha val="40000"/>
              </a:schemeClr>
            </a:glow>
          </a:effectLst>
          <a:scene3d>
            <a:camera prst="orthographicFront"/>
            <a:lightRig rig="legacyFlat3" dir="b"/>
          </a:scene3d>
          <a:sp3d extrusionH="430200" prstMaterial="legacyMatte">
            <a:extrusionClr>
              <a:srgbClr val="0099CC"/>
            </a:extrusionClr>
          </a:sp3d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  <a:flatTx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</a:t>
            </a:r>
            <a:endParaRPr kumimoji="0" lang="en-IN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EC96052-E840-4CCE-94AB-A015674A7F8E}"/>
              </a:ext>
            </a:extLst>
          </p:cNvPr>
          <p:cNvSpPr txBox="1"/>
          <p:nvPr userDrawn="1"/>
        </p:nvSpPr>
        <p:spPr>
          <a:xfrm>
            <a:off x="6614586" y="6478812"/>
            <a:ext cx="149315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/>
              <a:t>Follow Step Sequence</a:t>
            </a:r>
            <a:endParaRPr lang="en-IN" sz="1000" dirty="0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5DD2FB38-2F7F-41A4-95D4-DC138E3A85D5}"/>
              </a:ext>
            </a:extLst>
          </p:cNvPr>
          <p:cNvSpPr/>
          <p:nvPr userDrawn="1"/>
        </p:nvSpPr>
        <p:spPr bwMode="auto">
          <a:xfrm>
            <a:off x="8156291" y="6456838"/>
            <a:ext cx="343029" cy="281197"/>
          </a:xfrm>
          <a:prstGeom prst="ellipse">
            <a:avLst/>
          </a:prstGeom>
          <a:solidFill>
            <a:srgbClr val="FF0000"/>
          </a:solidFill>
          <a:ln w="3175">
            <a:solidFill>
              <a:schemeClr val="accent3"/>
            </a:solidFill>
            <a:miter lim="800000"/>
            <a:headEnd type="none" w="sm" len="sm"/>
            <a:tailEnd type="none" w="sm" len="sm"/>
          </a:ln>
          <a:effectLst>
            <a:glow rad="139700">
              <a:schemeClr val="accent6">
                <a:satMod val="175000"/>
                <a:alpha val="40000"/>
              </a:schemeClr>
            </a:glow>
          </a:effectLst>
          <a:scene3d>
            <a:camera prst="orthographicFront"/>
            <a:lightRig rig="legacyFlat3" dir="b"/>
          </a:scene3d>
          <a:sp3d extrusionH="430200" prstMaterial="legacyMatte">
            <a:extrusionClr>
              <a:srgbClr val="0099CC"/>
            </a:extrusionClr>
          </a:sp3d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  <a:flatTx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1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odoni MT Black" panose="02070A03080606020203" pitchFamily="18" charset="0"/>
                <a:ea typeface="+mn-ea"/>
                <a:cs typeface="+mn-cs"/>
              </a:rPr>
              <a:t>i</a:t>
            </a:r>
            <a:endParaRPr kumimoji="0" lang="en-IN" sz="2000" b="1" i="1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odoni MT Black" panose="02070A03080606020203" pitchFamily="18" charset="0"/>
              <a:ea typeface="+mn-ea"/>
              <a:cs typeface="+mn-cs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A8CF2D7B-BDC1-4FA8-937F-F365C19E3C2B}"/>
              </a:ext>
            </a:extLst>
          </p:cNvPr>
          <p:cNvSpPr/>
          <p:nvPr userDrawn="1"/>
        </p:nvSpPr>
        <p:spPr bwMode="auto">
          <a:xfrm>
            <a:off x="5791483" y="6458660"/>
            <a:ext cx="351378" cy="297140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3175">
            <a:solidFill>
              <a:srgbClr val="FFFF00"/>
            </a:solidFill>
            <a:miter lim="800000"/>
            <a:headEnd type="none" w="sm" len="sm"/>
            <a:tailEnd type="none" w="sm" len="sm"/>
          </a:ln>
          <a:effectLst>
            <a:glow rad="139700">
              <a:schemeClr val="accent6">
                <a:satMod val="175000"/>
                <a:alpha val="40000"/>
              </a:schemeClr>
            </a:glow>
          </a:effectLst>
          <a:scene3d>
            <a:camera prst="orthographicFront"/>
            <a:lightRig rig="legacyFlat3" dir="b"/>
          </a:scene3d>
          <a:sp3d extrusionH="430200" prstMaterial="legacyMatte">
            <a:extrusionClr>
              <a:srgbClr val="0099CC"/>
            </a:extrusionClr>
          </a:sp3d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  <a:flatTx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2</a:t>
            </a:r>
            <a:endParaRPr kumimoji="0" lang="en-IN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BB0D433D-F6C7-4225-8891-66627A392F6D}"/>
              </a:ext>
            </a:extLst>
          </p:cNvPr>
          <p:cNvSpPr/>
          <p:nvPr userDrawn="1"/>
        </p:nvSpPr>
        <p:spPr bwMode="auto">
          <a:xfrm>
            <a:off x="6225599" y="6454865"/>
            <a:ext cx="351378" cy="297140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3175">
            <a:solidFill>
              <a:srgbClr val="FFFF00"/>
            </a:solidFill>
            <a:miter lim="800000"/>
            <a:headEnd type="none" w="sm" len="sm"/>
            <a:tailEnd type="none" w="sm" len="sm"/>
          </a:ln>
          <a:effectLst>
            <a:glow rad="139700">
              <a:schemeClr val="accent6">
                <a:satMod val="175000"/>
                <a:alpha val="40000"/>
              </a:schemeClr>
            </a:glow>
          </a:effectLst>
          <a:scene3d>
            <a:camera prst="orthographicFront"/>
            <a:lightRig rig="legacyFlat3" dir="b"/>
          </a:scene3d>
          <a:sp3d extrusionH="430200" prstMaterial="legacyMatte">
            <a:extrusionClr>
              <a:srgbClr val="0099CC"/>
            </a:extrusionClr>
          </a:sp3d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  <a:flatTx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n</a:t>
            </a:r>
            <a:endParaRPr kumimoji="0" lang="en-IN" sz="1200" b="1" i="1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F2C16D55-C7AF-41DF-A311-05394C0E8F7F}"/>
              </a:ext>
            </a:extLst>
          </p:cNvPr>
          <p:cNvCxnSpPr>
            <a:cxnSpLocks/>
          </p:cNvCxnSpPr>
          <p:nvPr userDrawn="1"/>
        </p:nvCxnSpPr>
        <p:spPr>
          <a:xfrm>
            <a:off x="8065207" y="6506278"/>
            <a:ext cx="0" cy="24439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42010D4B-967D-42E1-B88D-A50E2B38B16A}"/>
              </a:ext>
            </a:extLst>
          </p:cNvPr>
          <p:cNvSpPr txBox="1"/>
          <p:nvPr userDrawn="1"/>
        </p:nvSpPr>
        <p:spPr>
          <a:xfrm>
            <a:off x="8536929" y="6484119"/>
            <a:ext cx="227469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Optional Step, For Information only</a:t>
            </a:r>
            <a:endParaRPr lang="en-IN" sz="100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B91AA1C-BD79-48C3-9024-AA30FCF12DEF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91374" y="10063"/>
            <a:ext cx="2658086" cy="9022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575310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Content Placeholder 5"/>
          <p:cNvSpPr>
            <a:spLocks noGrp="1"/>
          </p:cNvSpPr>
          <p:nvPr>
            <p:ph sz="quarter" idx="11" hasCustomPrompt="1"/>
          </p:nvPr>
        </p:nvSpPr>
        <p:spPr>
          <a:xfrm>
            <a:off x="614683" y="788487"/>
            <a:ext cx="10961368" cy="503299"/>
          </a:xfr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en-US" sz="2133" smtClean="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  <a:lvl2pPr>
              <a:defRPr lang="en-US" smtClean="0">
                <a:solidFill>
                  <a:schemeClr val="bg2"/>
                </a:solidFill>
              </a:defRPr>
            </a:lvl2pPr>
            <a:lvl3pPr>
              <a:defRPr lang="en-US" smtClean="0">
                <a:solidFill>
                  <a:schemeClr val="bg2"/>
                </a:solidFill>
              </a:defRPr>
            </a:lvl3pPr>
            <a:lvl4pPr>
              <a:defRPr lang="en-US" smtClean="0">
                <a:solidFill>
                  <a:schemeClr val="bg2"/>
                </a:solidFill>
              </a:defRPr>
            </a:lvl4pPr>
            <a:lvl5pPr>
              <a:defRPr lang="en-US">
                <a:solidFill>
                  <a:schemeClr val="bg2"/>
                </a:solidFill>
              </a:defRPr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dirty="0"/>
              <a:t>Slide sub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210764043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922527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048256"/>
            <a:ext cx="8532283" cy="1820861"/>
          </a:xfrm>
        </p:spPr>
        <p:txBody>
          <a:bodyPr vert="horz" lIns="0" tIns="45720" rIns="0" bIns="45720" rtlCol="0" anchor="t">
            <a:noAutofit/>
          </a:bodyPr>
          <a:lstStyle>
            <a:lvl1pPr>
              <a:defRPr lang="en-US" sz="4533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8610600" y="4810371"/>
            <a:ext cx="3048000" cy="1981200"/>
          </a:xfrm>
        </p:spPr>
        <p:txBody>
          <a:bodyPr/>
          <a:lstStyle>
            <a:lvl1pPr marL="0" indent="0" algn="r">
              <a:buNone/>
              <a:defRPr sz="13333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40689150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048256"/>
            <a:ext cx="8532283" cy="1820861"/>
          </a:xfrm>
        </p:spPr>
        <p:txBody>
          <a:bodyPr vert="horz" lIns="0" tIns="45720" rIns="0" bIns="45720" rtlCol="0" anchor="t">
            <a:noAutofit/>
          </a:bodyPr>
          <a:lstStyle>
            <a:lvl1pPr>
              <a:defRPr lang="en-US" sz="4533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8610600" y="4815840"/>
            <a:ext cx="3048000" cy="1981200"/>
          </a:xfrm>
        </p:spPr>
        <p:txBody>
          <a:bodyPr/>
          <a:lstStyle>
            <a:lvl1pPr marL="0" indent="0" algn="r">
              <a:buNone/>
              <a:defRPr sz="13333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22141850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048256"/>
            <a:ext cx="8532283" cy="1820861"/>
          </a:xfrm>
        </p:spPr>
        <p:txBody>
          <a:bodyPr vert="horz" lIns="0" tIns="45720" rIns="0" bIns="45720" rtlCol="0" anchor="t">
            <a:noAutofit/>
          </a:bodyPr>
          <a:lstStyle>
            <a:lvl1pPr>
              <a:defRPr lang="en-US" sz="4533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8610600" y="4815840"/>
            <a:ext cx="3048000" cy="1981200"/>
          </a:xfrm>
        </p:spPr>
        <p:txBody>
          <a:bodyPr/>
          <a:lstStyle>
            <a:lvl1pPr marL="0" indent="0" algn="r">
              <a:buNone/>
              <a:defRPr sz="13333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201738709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048256"/>
            <a:ext cx="8532283" cy="1820861"/>
          </a:xfrm>
        </p:spPr>
        <p:txBody>
          <a:bodyPr vert="horz" lIns="0" tIns="45720" rIns="0" bIns="45720" rtlCol="0" anchor="t">
            <a:noAutofit/>
          </a:bodyPr>
          <a:lstStyle>
            <a:lvl1pPr>
              <a:defRPr lang="en-US" sz="4533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8610600" y="4815840"/>
            <a:ext cx="3048000" cy="1981200"/>
          </a:xfrm>
        </p:spPr>
        <p:txBody>
          <a:bodyPr/>
          <a:lstStyle>
            <a:lvl1pPr marL="0" indent="0" algn="r">
              <a:buNone/>
              <a:defRPr sz="13333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113379233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14683" y="441325"/>
            <a:ext cx="10962635" cy="438912"/>
          </a:xfrm>
          <a:prstGeom prst="rect">
            <a:avLst/>
          </a:prstGeom>
        </p:spPr>
        <p:txBody>
          <a:bodyPr vert="horz" lIns="0" tIns="45720" rIns="0" bIns="4572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4683" y="1430545"/>
            <a:ext cx="8827768" cy="4265995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07367" y="6378930"/>
            <a:ext cx="5486400" cy="298449"/>
          </a:xfrm>
          <a:prstGeom prst="rect">
            <a:avLst/>
          </a:prstGeom>
        </p:spPr>
        <p:txBody>
          <a:bodyPr vert="horz" lIns="0" tIns="45720" rIns="0" bIns="45720" rtlCol="0" anchor="t">
            <a:noAutofit/>
          </a:bodyPr>
          <a:lstStyle>
            <a:lvl1pPr algn="r">
              <a:defRPr sz="800">
                <a:solidFill>
                  <a:srgbClr val="4E352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TextBox 3"/>
          <p:cNvSpPr txBox="1"/>
          <p:nvPr userDrawn="1"/>
        </p:nvSpPr>
        <p:spPr>
          <a:xfrm>
            <a:off x="11572078" y="6382390"/>
            <a:ext cx="350047" cy="294989"/>
          </a:xfrm>
          <a:prstGeom prst="rect">
            <a:avLst/>
          </a:prstGeom>
        </p:spPr>
        <p:txBody>
          <a:bodyPr vert="horz" lIns="0" tIns="60960" rIns="0" bIns="60960" rtlCol="0" anchor="t">
            <a:noAutofit/>
          </a:bodyPr>
          <a:lstStyle>
            <a:defPPr>
              <a:defRPr lang="en-US"/>
            </a:defPPr>
            <a:lvl1pPr algn="r">
              <a:defRPr sz="600">
                <a:solidFill>
                  <a:srgbClr val="4E3524"/>
                </a:solidFill>
              </a:defRPr>
            </a:lvl1pPr>
          </a:lstStyle>
          <a:p>
            <a:pPr lvl="0" algn="l"/>
            <a:r>
              <a:rPr lang="en-US" sz="800" dirty="0">
                <a:solidFill>
                  <a:schemeClr val="tx1"/>
                </a:solidFill>
              </a:rPr>
              <a:t>|  </a:t>
            </a:r>
            <a:fld id="{0147339A-3AB3-A94C-8998-90FD6DAA8963}" type="slidenum">
              <a:rPr lang="en-US" sz="800" smtClean="0">
                <a:solidFill>
                  <a:schemeClr val="tx1"/>
                </a:solidFill>
              </a:rPr>
              <a:t>‹#›</a:t>
            </a:fld>
            <a:endParaRPr lang="en-US" sz="800" dirty="0">
              <a:solidFill>
                <a:schemeClr val="tx1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4C79A66-5788-412D-B0A4-7488D62B914E}"/>
              </a:ext>
            </a:extLst>
          </p:cNvPr>
          <p:cNvPicPr>
            <a:picLocks noChangeAspect="1"/>
          </p:cNvPicPr>
          <p:nvPr userDrawn="1"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9020" y="5754692"/>
            <a:ext cx="2658086" cy="9022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21875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03" r:id="rId1"/>
    <p:sldLayoutId id="2147484104" r:id="rId2"/>
    <p:sldLayoutId id="2147484105" r:id="rId3"/>
    <p:sldLayoutId id="2147484106" r:id="rId4"/>
    <p:sldLayoutId id="2147484107" r:id="rId5"/>
    <p:sldLayoutId id="2147484108" r:id="rId6"/>
    <p:sldLayoutId id="2147484109" r:id="rId7"/>
    <p:sldLayoutId id="2147484110" r:id="rId8"/>
    <p:sldLayoutId id="2147484111" r:id="rId9"/>
    <p:sldLayoutId id="2147484112" r:id="rId10"/>
    <p:sldLayoutId id="2147484113" r:id="rId11"/>
    <p:sldLayoutId id="2147484114" r:id="rId12"/>
    <p:sldLayoutId id="2147484115" r:id="rId13"/>
    <p:sldLayoutId id="2147484116" r:id="rId14"/>
    <p:sldLayoutId id="2147484117" r:id="rId15"/>
    <p:sldLayoutId id="2147484118" r:id="rId16"/>
    <p:sldLayoutId id="2147484088" r:id="rId17"/>
    <p:sldLayoutId id="2147484089" r:id="rId18"/>
    <p:sldLayoutId id="2147484090" r:id="rId19"/>
    <p:sldLayoutId id="2147484091" r:id="rId20"/>
    <p:sldLayoutId id="2147484092" r:id="rId21"/>
    <p:sldLayoutId id="2147484093" r:id="rId22"/>
    <p:sldLayoutId id="2147484094" r:id="rId23"/>
    <p:sldLayoutId id="2147484095" r:id="rId24"/>
    <p:sldLayoutId id="2147484096" r:id="rId25"/>
    <p:sldLayoutId id="2147484097" r:id="rId26"/>
    <p:sldLayoutId id="2147484098" r:id="rId27"/>
    <p:sldLayoutId id="2147484100" r:id="rId28"/>
    <p:sldLayoutId id="2147484146" r:id="rId29"/>
    <p:sldLayoutId id="2147484147" r:id="rId30"/>
  </p:sldLayoutIdLst>
  <p:hf sldNum="0" hd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133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304792" indent="-304792" algn="l" defTabSz="914377" rtl="0" eaLnBrk="1" latinLnBrk="0" hangingPunct="1">
        <a:lnSpc>
          <a:spcPct val="100000"/>
        </a:lnSpc>
        <a:spcBef>
          <a:spcPts val="0"/>
        </a:spcBef>
        <a:buFont typeface="Arial"/>
        <a:buChar char="•"/>
        <a:defRPr sz="2667" kern="1200">
          <a:solidFill>
            <a:schemeClr val="tx2"/>
          </a:solidFill>
          <a:latin typeface="+mn-lt"/>
          <a:ea typeface="+mn-ea"/>
          <a:cs typeface="+mn-cs"/>
        </a:defRPr>
      </a:lvl1pPr>
      <a:lvl2pPr marL="533387" indent="-228594" algn="l" defTabSz="914377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2667" kern="1200">
          <a:solidFill>
            <a:schemeClr val="tx2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comments" Target="../comments/comment1.xml"/><Relationship Id="rId3" Type="http://schemas.openxmlformats.org/officeDocument/2006/relationships/tags" Target="../tags/tag17.xml"/><Relationship Id="rId7" Type="http://schemas.openxmlformats.org/officeDocument/2006/relationships/image" Target="../media/image8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7.emf"/><Relationship Id="rId2" Type="http://schemas.openxmlformats.org/officeDocument/2006/relationships/tags" Target="../tags/tag18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3.bin"/><Relationship Id="rId5" Type="http://schemas.openxmlformats.org/officeDocument/2006/relationships/image" Target="../media/image9.png"/><Relationship Id="rId4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7" Type="http://schemas.openxmlformats.org/officeDocument/2006/relationships/image" Target="../media/image10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23.xml"/><Relationship Id="rId7" Type="http://schemas.openxmlformats.org/officeDocument/2006/relationships/image" Target="../media/image11.png"/><Relationship Id="rId2" Type="http://schemas.openxmlformats.org/officeDocument/2006/relationships/tags" Target="../tags/tag22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25.xml"/><Relationship Id="rId7" Type="http://schemas.openxmlformats.org/officeDocument/2006/relationships/image" Target="../media/image13.png"/><Relationship Id="rId2" Type="http://schemas.openxmlformats.org/officeDocument/2006/relationships/tags" Target="../tags/tag24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5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tags" Target="../tags/tag27.xml"/><Relationship Id="rId7" Type="http://schemas.openxmlformats.org/officeDocument/2006/relationships/image" Target="../media/image7.emf"/><Relationship Id="rId2" Type="http://schemas.openxmlformats.org/officeDocument/2006/relationships/tags" Target="../tags/tag26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3.bin"/><Relationship Id="rId5" Type="http://schemas.openxmlformats.org/officeDocument/2006/relationships/image" Target="../media/image16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8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tags" Target="../tags/tag29.xml"/><Relationship Id="rId7" Type="http://schemas.openxmlformats.org/officeDocument/2006/relationships/hyperlink" Target="https://supplier.ariba.com/" TargetMode="External"/><Relationship Id="rId2" Type="http://schemas.openxmlformats.org/officeDocument/2006/relationships/tags" Target="../tags/tag2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2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/>
        </p:nvSpPr>
        <p:spPr>
          <a:xfrm>
            <a:off x="576855" y="3430787"/>
            <a:ext cx="9758716" cy="2301031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400" kern="1200">
                <a:solidFill>
                  <a:srgbClr val="FFFFFF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marL="0" marR="0" lvl="0" indent="0" algn="l" defTabSz="91421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799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xpo"/>
              <a:ea typeface="+mj-ea"/>
              <a:cs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Expo City Dubai</a:t>
            </a:r>
            <a:br>
              <a:rPr lang="en-US" dirty="0"/>
            </a:br>
            <a:r>
              <a:rPr lang="en-US" dirty="0"/>
              <a:t>Ariba Guide for Supplier Registr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9600" y="4170438"/>
            <a:ext cx="8043333" cy="609600"/>
          </a:xfrm>
        </p:spPr>
        <p:txBody>
          <a:bodyPr/>
          <a:lstStyle/>
          <a:p>
            <a:r>
              <a:rPr lang="en-US" sz="2400" dirty="0"/>
              <a:t>Registering as a new vendor with Expo City Dubai on award of sourcing event</a:t>
            </a:r>
          </a:p>
        </p:txBody>
      </p:sp>
    </p:spTree>
    <p:extLst>
      <p:ext uri="{BB962C8B-B14F-4D97-AF65-F5344CB8AC3E}">
        <p14:creationId xmlns:p14="http://schemas.microsoft.com/office/powerpoint/2010/main" val="253443886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E87EF6E-24A8-4731-BD6E-CDD660D36E1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6331" name="think-cell Slide" r:id="rId5" imgW="396" imgH="396" progId="TCLayout.ActiveDocument.1">
                  <p:embed/>
                </p:oleObj>
              </mc:Choice>
              <mc:Fallback>
                <p:oleObj name="think-cell Slide" r:id="rId5" imgW="396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E87EF6E-24A8-4731-BD6E-CDD660D36E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A4F164E8-043D-4227-9E5F-DD7DEC8BF07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798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Expo"/>
              <a:ea typeface="+mn-ea"/>
              <a:cs typeface="Arial" panose="020B0604020202020204" pitchFamily="34" charset="0"/>
              <a:sym typeface="Expo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plete Supplier Registration by Invitatio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n-US" dirty="0"/>
              <a:t>Provide all company and bank account information</a:t>
            </a:r>
          </a:p>
        </p:txBody>
      </p:sp>
      <p:sp>
        <p:nvSpPr>
          <p:cNvPr id="12" name="Rectangle 11"/>
          <p:cNvSpPr/>
          <p:nvPr/>
        </p:nvSpPr>
        <p:spPr>
          <a:xfrm>
            <a:off x="599025" y="1691469"/>
            <a:ext cx="4878968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dirty="0">
                <a:latin typeface="+mn-lt"/>
              </a:rPr>
              <a:t>Before you are awarded a Purchase Order or Contract by Expo City Dubai, you will be invited to complete </a:t>
            </a:r>
            <a:r>
              <a:rPr lang="en-US" sz="2000" b="1" dirty="0">
                <a:latin typeface="+mn-lt"/>
              </a:rPr>
              <a:t>Supplier Registration </a:t>
            </a:r>
            <a:r>
              <a:rPr lang="en-US" sz="2000" dirty="0">
                <a:latin typeface="+mn-lt"/>
              </a:rPr>
              <a:t>via Ariba.</a:t>
            </a:r>
          </a:p>
          <a:p>
            <a:endParaRPr lang="en-US" sz="2000" dirty="0">
              <a:latin typeface="+mn-lt"/>
            </a:endParaRPr>
          </a:p>
          <a:p>
            <a:r>
              <a:rPr lang="en-US" sz="2000" dirty="0">
                <a:latin typeface="+mn-lt"/>
              </a:rPr>
              <a:t>This includes submission of all required company information and your banking information.</a:t>
            </a:r>
          </a:p>
          <a:p>
            <a:endParaRPr lang="en-US" sz="2000" dirty="0">
              <a:latin typeface="+mn-lt"/>
            </a:endParaRPr>
          </a:p>
          <a:p>
            <a:r>
              <a:rPr lang="en-US" sz="2000" dirty="0">
                <a:latin typeface="+mn-lt"/>
              </a:rPr>
              <a:t>You will need an </a:t>
            </a:r>
            <a:r>
              <a:rPr lang="en-US" sz="2000" b="1" dirty="0">
                <a:latin typeface="+mn-lt"/>
              </a:rPr>
              <a:t>Ariba account </a:t>
            </a:r>
            <a:r>
              <a:rPr lang="en-US" sz="2000" dirty="0">
                <a:latin typeface="+mn-lt"/>
              </a:rPr>
              <a:t>to transact with Expo City Dubai throughout the procure-to-pay cycle</a:t>
            </a:r>
          </a:p>
        </p:txBody>
      </p:sp>
      <p:sp>
        <p:nvSpPr>
          <p:cNvPr id="2" name="Rectangle 1"/>
          <p:cNvSpPr/>
          <p:nvPr/>
        </p:nvSpPr>
        <p:spPr>
          <a:xfrm>
            <a:off x="6095367" y="1626087"/>
            <a:ext cx="5480684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latin typeface="+mn-lt"/>
                <a:cs typeface="Expo Office" panose="00000500000000000000" pitchFamily="50" charset="-78"/>
              </a:rPr>
              <a:t>You will receive an invitation by email</a:t>
            </a:r>
          </a:p>
          <a:p>
            <a:r>
              <a:rPr lang="en-US" b="1" dirty="0">
                <a:latin typeface="+mn-lt"/>
                <a:cs typeface="Expo Office" panose="00000500000000000000" pitchFamily="50" charset="-78"/>
              </a:rPr>
              <a:t>Subject</a:t>
            </a:r>
            <a:r>
              <a:rPr lang="en-US" dirty="0">
                <a:latin typeface="+mn-lt"/>
                <a:cs typeface="Expo Office" panose="00000500000000000000" pitchFamily="50" charset="-78"/>
              </a:rPr>
              <a:t>: Invitation: Register to become a supplier with </a:t>
            </a:r>
            <a:r>
              <a:rPr lang="en-US">
                <a:latin typeface="+mn-lt"/>
                <a:cs typeface="Expo Office" panose="00000500000000000000" pitchFamily="50" charset="-78"/>
              </a:rPr>
              <a:t>Expo </a:t>
            </a:r>
            <a:r>
              <a:rPr lang="en-US" smtClean="0">
                <a:latin typeface="+mn-lt"/>
                <a:cs typeface="Expo Office" panose="00000500000000000000" pitchFamily="50" charset="-78"/>
              </a:rPr>
              <a:t>2020 </a:t>
            </a:r>
            <a:r>
              <a:rPr lang="en-US" dirty="0">
                <a:latin typeface="+mn-lt"/>
                <a:cs typeface="Expo Office" panose="00000500000000000000" pitchFamily="50" charset="-78"/>
              </a:rPr>
              <a:t>Dubai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6237511" y="2924857"/>
            <a:ext cx="4841388" cy="3057719"/>
            <a:chOff x="6237511" y="2924857"/>
            <a:chExt cx="4841388" cy="3057719"/>
          </a:xfrm>
        </p:grpSpPr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8D1A9939-54B1-4465-BDE9-3A362C3B742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237511" y="2924857"/>
              <a:ext cx="4841388" cy="3057719"/>
            </a:xfrm>
            <a:prstGeom prst="rect">
              <a:avLst/>
            </a:prstGeom>
            <a:effectLst>
              <a:outerShdw blurRad="63500" sx="103000" sy="103000" algn="ctr" rotWithShape="0">
                <a:prstClr val="black">
                  <a:alpha val="10000"/>
                </a:prstClr>
              </a:outerShdw>
            </a:effectLst>
          </p:spPr>
        </p:pic>
        <p:sp>
          <p:nvSpPr>
            <p:cNvPr id="3" name="Rectangle 2"/>
            <p:cNvSpPr/>
            <p:nvPr/>
          </p:nvSpPr>
          <p:spPr>
            <a:xfrm>
              <a:off x="7995138" y="3032369"/>
              <a:ext cx="1023816" cy="31261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tangle 15"/>
            <p:cNvSpPr/>
            <p:nvPr/>
          </p:nvSpPr>
          <p:spPr>
            <a:xfrm>
              <a:off x="9186984" y="3584295"/>
              <a:ext cx="1023816" cy="31261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ectangle 16"/>
            <p:cNvSpPr/>
            <p:nvPr/>
          </p:nvSpPr>
          <p:spPr>
            <a:xfrm>
              <a:off x="6346092" y="4353517"/>
              <a:ext cx="1517337" cy="13251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en-US" sz="1000" dirty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 Expo 2020 Dubai invites</a:t>
              </a: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7057799" y="4486032"/>
              <a:ext cx="496685" cy="22012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endParaRPr lang="en-US" sz="11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" name="Rectangle 19"/>
            <p:cNvSpPr/>
            <p:nvPr/>
          </p:nvSpPr>
          <p:spPr>
            <a:xfrm>
              <a:off x="7389954" y="4812467"/>
              <a:ext cx="441062" cy="18156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endParaRPr lang="en-US" sz="11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" name="Rounded Rectangular Callout 21"/>
            <p:cNvSpPr/>
            <p:nvPr/>
          </p:nvSpPr>
          <p:spPr>
            <a:xfrm>
              <a:off x="7105491" y="4702404"/>
              <a:ext cx="1451050" cy="681038"/>
            </a:xfrm>
            <a:prstGeom prst="wedgeRoundRectCallout">
              <a:avLst>
                <a:gd name="adj1" fmla="val -39706"/>
                <a:gd name="adj2" fmla="val 103592"/>
                <a:gd name="adj3" fmla="val 16667"/>
              </a:avLst>
            </a:prstGeom>
            <a:solidFill>
              <a:schemeClr val="accent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>
              <a:spAutoFit/>
            </a:bodyPr>
            <a:lstStyle/>
            <a:p>
              <a:pPr algn="ctr"/>
              <a:r>
                <a:rPr lang="en-US" sz="1400" b="1" dirty="0">
                  <a:solidFill>
                    <a:schemeClr val="tx1"/>
                  </a:solidFill>
                </a:rPr>
                <a:t>Click here to access Ariba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5509912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72FEC035-4E2A-403A-9809-BD031E27ECB9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625623" y="1638947"/>
            <a:ext cx="6924432" cy="3759200"/>
          </a:xfrm>
          <a:prstGeom prst="rect">
            <a:avLst/>
          </a:prstGeom>
          <a:effectLst>
            <a:outerShdw blurRad="63500" sx="103000" sy="103000" algn="ctr" rotWithShape="0">
              <a:prstClr val="black">
                <a:alpha val="10000"/>
              </a:prstClr>
            </a:outerShdw>
          </a:effectLst>
        </p:spPr>
      </p:pic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E87EF6E-24A8-4731-BD6E-CDD660D36E1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1931" name="think-cell Slide" r:id="rId6" imgW="396" imgH="396" progId="TCLayout.ActiveDocument.1">
                  <p:embed/>
                </p:oleObj>
              </mc:Choice>
              <mc:Fallback>
                <p:oleObj name="think-cell Slide" r:id="rId6" imgW="396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E87EF6E-24A8-4731-BD6E-CDD660D36E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A4F164E8-043D-4227-9E5F-DD7DEC8BF07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798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Expo"/>
              <a:ea typeface="+mn-ea"/>
              <a:cs typeface="Arial" panose="020B0604020202020204" pitchFamily="34" charset="0"/>
              <a:sym typeface="Expo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gin to your existing Ariba account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n-US" dirty="0"/>
              <a:t>If you don’t have one, click Sign Up to complete account set up</a:t>
            </a:r>
          </a:p>
        </p:txBody>
      </p:sp>
      <p:sp>
        <p:nvSpPr>
          <p:cNvPr id="22" name="Rounded Rectangular Callout 21"/>
          <p:cNvSpPr/>
          <p:nvPr/>
        </p:nvSpPr>
        <p:spPr>
          <a:xfrm>
            <a:off x="4139587" y="3647510"/>
            <a:ext cx="1896504" cy="1157764"/>
          </a:xfrm>
          <a:prstGeom prst="wedgeRoundRectCallout">
            <a:avLst>
              <a:gd name="adj1" fmla="val -72495"/>
              <a:gd name="adj2" fmla="val -30809"/>
              <a:gd name="adj3" fmla="val 16667"/>
            </a:avLst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bIns="91440" rtlCol="0" anchor="ctr">
            <a:spAutoFit/>
          </a:bodyPr>
          <a:lstStyle/>
          <a:p>
            <a:pPr algn="ctr"/>
            <a:r>
              <a:rPr lang="en-US" sz="1400" b="1" dirty="0">
                <a:solidFill>
                  <a:schemeClr val="tx1"/>
                </a:solidFill>
              </a:rPr>
              <a:t>Login</a:t>
            </a:r>
            <a:r>
              <a:rPr lang="en-US" sz="1400" dirty="0">
                <a:solidFill>
                  <a:schemeClr val="tx1"/>
                </a:solidFill>
              </a:rPr>
              <a:t> if you already have an Ariba account for your company</a:t>
            </a:r>
          </a:p>
        </p:txBody>
      </p:sp>
      <p:sp>
        <p:nvSpPr>
          <p:cNvPr id="24" name="Rounded Rectangular Callout 23"/>
          <p:cNvSpPr/>
          <p:nvPr/>
        </p:nvSpPr>
        <p:spPr>
          <a:xfrm>
            <a:off x="8168418" y="3187809"/>
            <a:ext cx="1896504" cy="919401"/>
          </a:xfrm>
          <a:prstGeom prst="wedgeRoundRectCallout">
            <a:avLst>
              <a:gd name="adj1" fmla="val -72495"/>
              <a:gd name="adj2" fmla="val -30809"/>
              <a:gd name="adj3" fmla="val 16667"/>
            </a:avLst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bIns="91440" rtlCol="0" anchor="ctr">
            <a:spAutoFit/>
          </a:bodyPr>
          <a:lstStyle/>
          <a:p>
            <a:pPr algn="ctr"/>
            <a:r>
              <a:rPr lang="en-US" sz="1400" b="1" dirty="0">
                <a:solidFill>
                  <a:schemeClr val="tx1"/>
                </a:solidFill>
              </a:rPr>
              <a:t>Sign up</a:t>
            </a:r>
            <a:r>
              <a:rPr lang="en-US" sz="1400" dirty="0">
                <a:solidFill>
                  <a:schemeClr val="tx1"/>
                </a:solidFill>
              </a:rPr>
              <a:t> for a new Ariba account for your company</a:t>
            </a:r>
          </a:p>
        </p:txBody>
      </p:sp>
      <p:sp>
        <p:nvSpPr>
          <p:cNvPr id="25" name="Rectangle 24"/>
          <p:cNvSpPr/>
          <p:nvPr/>
        </p:nvSpPr>
        <p:spPr>
          <a:xfrm>
            <a:off x="8773574" y="4226392"/>
            <a:ext cx="242733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>
                <a:latin typeface="+mn-lt"/>
                <a:cs typeface="Expo Office" panose="00000500000000000000" pitchFamily="50" charset="-78"/>
              </a:rPr>
              <a:t>Refer to page X for account creation steps</a:t>
            </a:r>
          </a:p>
        </p:txBody>
      </p:sp>
    </p:spTree>
    <p:extLst>
      <p:ext uri="{BB962C8B-B14F-4D97-AF65-F5344CB8AC3E}">
        <p14:creationId xmlns:p14="http://schemas.microsoft.com/office/powerpoint/2010/main" val="156340131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E87EF6E-24A8-4731-BD6E-CDD660D36E1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4999" name="think-cell Slide" r:id="rId5" imgW="396" imgH="396" progId="TCLayout.ActiveDocument.1">
                  <p:embed/>
                </p:oleObj>
              </mc:Choice>
              <mc:Fallback>
                <p:oleObj name="think-cell Slide" r:id="rId5" imgW="396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E87EF6E-24A8-4731-BD6E-CDD660D36E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A4F164E8-043D-4227-9E5F-DD7DEC8BF07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798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Expo"/>
              <a:ea typeface="+mn-ea"/>
              <a:cs typeface="Arial" panose="020B0604020202020204" pitchFamily="34" charset="0"/>
              <a:sym typeface="Expo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plete supplier registration questionnair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n-US" dirty="0"/>
              <a:t>Please complete all mandatory fields and submit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60E12FD6-8CAD-44AC-A6B8-385FF1000027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71651" y="1386669"/>
            <a:ext cx="6492297" cy="3366146"/>
          </a:xfrm>
          <a:prstGeom prst="rect">
            <a:avLst/>
          </a:prstGeom>
          <a:effectLst>
            <a:outerShdw blurRad="63500" sx="103000" sy="103000" algn="ctr" rotWithShape="0">
              <a:prstClr val="black">
                <a:alpha val="10000"/>
              </a:prstClr>
            </a:outerShdw>
          </a:effectLst>
        </p:spPr>
      </p:pic>
      <p:sp>
        <p:nvSpPr>
          <p:cNvPr id="12" name="Rectangle 11"/>
          <p:cNvSpPr/>
          <p:nvPr/>
        </p:nvSpPr>
        <p:spPr>
          <a:xfrm>
            <a:off x="7453118" y="1193396"/>
            <a:ext cx="3871374" cy="48167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en-US" sz="1600" dirty="0">
                <a:latin typeface="+mn-lt"/>
              </a:rPr>
              <a:t>Questionnaire includes</a:t>
            </a:r>
          </a:p>
          <a:p>
            <a:pPr marL="227013" indent="-227013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chemeClr val="bg2"/>
                </a:solidFill>
                <a:latin typeface="+mn-lt"/>
              </a:rPr>
              <a:t>Supplier Information </a:t>
            </a:r>
            <a:r>
              <a:rPr lang="en-US" sz="1600" dirty="0">
                <a:latin typeface="+mn-lt"/>
              </a:rPr>
              <a:t>– provide your key company details</a:t>
            </a:r>
          </a:p>
          <a:p>
            <a:pPr marL="227013" indent="-227013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chemeClr val="bg2"/>
                </a:solidFill>
                <a:latin typeface="+mn-lt"/>
              </a:rPr>
              <a:t>SME Details </a:t>
            </a:r>
            <a:r>
              <a:rPr lang="en-US" sz="1600" dirty="0">
                <a:latin typeface="+mn-lt"/>
              </a:rPr>
              <a:t>– confirm your SME classification status</a:t>
            </a:r>
          </a:p>
          <a:p>
            <a:pPr marL="227013" indent="-227013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chemeClr val="bg2"/>
                </a:solidFill>
                <a:latin typeface="+mn-lt"/>
              </a:rPr>
              <a:t>Contacts Details </a:t>
            </a:r>
            <a:r>
              <a:rPr lang="en-US" sz="1600" dirty="0">
                <a:latin typeface="+mn-lt"/>
              </a:rPr>
              <a:t>– confirm your address and contact details</a:t>
            </a:r>
          </a:p>
          <a:p>
            <a:pPr marL="227013" indent="-227013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chemeClr val="bg2"/>
                </a:solidFill>
                <a:latin typeface="+mn-lt"/>
              </a:rPr>
              <a:t>Ultimate Parent Company </a:t>
            </a:r>
            <a:r>
              <a:rPr lang="en-US" sz="1600" dirty="0">
                <a:latin typeface="+mn-lt"/>
              </a:rPr>
              <a:t>– confirm details of parent company (if relevant)</a:t>
            </a:r>
          </a:p>
          <a:p>
            <a:pPr marL="227013" indent="-227013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chemeClr val="bg2"/>
                </a:solidFill>
                <a:latin typeface="+mn-lt"/>
              </a:rPr>
              <a:t>Transaction Information </a:t>
            </a:r>
            <a:r>
              <a:rPr lang="en-US" sz="1600" dirty="0">
                <a:latin typeface="+mn-lt"/>
              </a:rPr>
              <a:t>– email contacts for receiving POs</a:t>
            </a:r>
          </a:p>
          <a:p>
            <a:pPr marL="227013" indent="-227013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chemeClr val="bg2"/>
                </a:solidFill>
                <a:latin typeface="+mn-lt"/>
              </a:rPr>
              <a:t>Bank Information </a:t>
            </a:r>
            <a:r>
              <a:rPr lang="en-US" sz="1600" dirty="0">
                <a:latin typeface="+mn-lt"/>
              </a:rPr>
              <a:t>– input your company’s bank account details for future payment</a:t>
            </a:r>
          </a:p>
          <a:p>
            <a:pPr marL="227013" indent="-227013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chemeClr val="bg2"/>
                </a:solidFill>
                <a:latin typeface="+mn-lt"/>
              </a:rPr>
              <a:t>VAT / Tax Information </a:t>
            </a:r>
            <a:r>
              <a:rPr lang="en-US" sz="1600" dirty="0">
                <a:latin typeface="+mn-lt"/>
              </a:rPr>
              <a:t>– provide your VAT details</a:t>
            </a:r>
          </a:p>
        </p:txBody>
      </p:sp>
    </p:spTree>
    <p:extLst>
      <p:ext uri="{BB962C8B-B14F-4D97-AF65-F5344CB8AC3E}">
        <p14:creationId xmlns:p14="http://schemas.microsoft.com/office/powerpoint/2010/main" val="222719682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E87EF6E-24A8-4731-BD6E-CDD660D36E1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9094" name="think-cell Slide" r:id="rId5" imgW="396" imgH="396" progId="TCLayout.ActiveDocument.1">
                  <p:embed/>
                </p:oleObj>
              </mc:Choice>
              <mc:Fallback>
                <p:oleObj name="think-cell Slide" r:id="rId5" imgW="396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E87EF6E-24A8-4731-BD6E-CDD660D36E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A4F164E8-043D-4227-9E5F-DD7DEC8BF07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798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Expo"/>
              <a:ea typeface="+mn-ea"/>
              <a:cs typeface="Arial" panose="020B0604020202020204" pitchFamily="34" charset="0"/>
              <a:sym typeface="Expo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plete supplier registration questionnair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n-US" dirty="0"/>
              <a:t>You can provide information for one or more Company bank account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30B14EB-74DA-40F3-B141-4CD89090002C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64863" y="1638947"/>
            <a:ext cx="6660642" cy="3282463"/>
          </a:xfrm>
          <a:prstGeom prst="rect">
            <a:avLst/>
          </a:prstGeom>
          <a:effectLst>
            <a:outerShdw blurRad="63500" sx="103000" sy="103000" algn="ctr" rotWithShape="0">
              <a:prstClr val="black">
                <a:alpha val="10000"/>
              </a:prstClr>
            </a:outerShdw>
          </a:effectLst>
        </p:spPr>
      </p:pic>
      <p:sp>
        <p:nvSpPr>
          <p:cNvPr id="13" name="Rounded Rectangle 12"/>
          <p:cNvSpPr/>
          <p:nvPr/>
        </p:nvSpPr>
        <p:spPr>
          <a:xfrm>
            <a:off x="3378182" y="3104301"/>
            <a:ext cx="3444650" cy="379078"/>
          </a:xfrm>
          <a:prstGeom prst="roundRect">
            <a:avLst/>
          </a:prstGeom>
          <a:noFill/>
          <a:ln w="28575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ounded Rectangular Callout 13"/>
          <p:cNvSpPr/>
          <p:nvPr/>
        </p:nvSpPr>
        <p:spPr>
          <a:xfrm>
            <a:off x="3519869" y="1990052"/>
            <a:ext cx="1896504" cy="681038"/>
          </a:xfrm>
          <a:prstGeom prst="wedgeRoundRectCallout">
            <a:avLst>
              <a:gd name="adj1" fmla="val 66381"/>
              <a:gd name="adj2" fmla="val 122965"/>
              <a:gd name="adj3" fmla="val 16667"/>
            </a:avLst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bIns="91440" rtlCol="0" anchor="ctr">
            <a:spAutoFit/>
          </a:bodyPr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Click to </a:t>
            </a:r>
            <a:r>
              <a:rPr lang="en-US" sz="1400" b="1" dirty="0">
                <a:solidFill>
                  <a:schemeClr val="tx1"/>
                </a:solidFill>
              </a:rPr>
              <a:t>‘Add Bank Information’</a:t>
            </a:r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C85BFFA4-5F60-4A17-B1BF-7E890C5FB455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91830" y="3348548"/>
            <a:ext cx="2727569" cy="2086709"/>
          </a:xfrm>
          <a:prstGeom prst="rect">
            <a:avLst/>
          </a:prstGeom>
          <a:effectLst>
            <a:outerShdw blurRad="63500" sx="103000" sy="103000" algn="ctr" rotWithShape="0">
              <a:prstClr val="black">
                <a:alpha val="10000"/>
              </a:prstClr>
            </a:outerShdw>
          </a:effectLst>
        </p:spPr>
      </p:pic>
      <p:sp>
        <p:nvSpPr>
          <p:cNvPr id="16" name="Curved Up Arrow 10"/>
          <p:cNvSpPr/>
          <p:nvPr/>
        </p:nvSpPr>
        <p:spPr>
          <a:xfrm rot="4686745">
            <a:off x="6142960" y="3320212"/>
            <a:ext cx="952346" cy="840180"/>
          </a:xfrm>
          <a:custGeom>
            <a:avLst/>
            <a:gdLst>
              <a:gd name="connsiteX0" fmla="*/ 1197707 w 1406769"/>
              <a:gd name="connsiteY0" fmla="*/ 0 h 836247"/>
              <a:gd name="connsiteX1" fmla="*/ 1389413 w 1406769"/>
              <a:gd name="connsiteY1" fmla="*/ 209062 h 836247"/>
              <a:gd name="connsiteX2" fmla="*/ 1284882 w 1406769"/>
              <a:gd name="connsiteY2" fmla="*/ 209062 h 836247"/>
              <a:gd name="connsiteX3" fmla="*/ 651120 w 1406769"/>
              <a:gd name="connsiteY3" fmla="*/ 820812 h 836247"/>
              <a:gd name="connsiteX4" fmla="*/ 1075821 w 1406769"/>
              <a:gd name="connsiteY4" fmla="*/ 209062 h 836247"/>
              <a:gd name="connsiteX5" fmla="*/ 971289 w 1406769"/>
              <a:gd name="connsiteY5" fmla="*/ 209062 h 836247"/>
              <a:gd name="connsiteX6" fmla="*/ 1197707 w 1406769"/>
              <a:gd name="connsiteY6" fmla="*/ 0 h 836247"/>
              <a:gd name="connsiteX0" fmla="*/ 546588 w 1406769"/>
              <a:gd name="connsiteY0" fmla="*/ 836247 h 836247"/>
              <a:gd name="connsiteX1" fmla="*/ 0 w 1406769"/>
              <a:gd name="connsiteY1" fmla="*/ 0 h 836247"/>
              <a:gd name="connsiteX2" fmla="*/ 209062 w 1406769"/>
              <a:gd name="connsiteY2" fmla="*/ 0 h 836247"/>
              <a:gd name="connsiteX3" fmla="*/ 755650 w 1406769"/>
              <a:gd name="connsiteY3" fmla="*/ 836247 h 836247"/>
              <a:gd name="connsiteX4" fmla="*/ 546588 w 1406769"/>
              <a:gd name="connsiteY4" fmla="*/ 836247 h 836247"/>
              <a:gd name="connsiteX0" fmla="*/ 651119 w 1406769"/>
              <a:gd name="connsiteY0" fmla="*/ 820812 h 836247"/>
              <a:gd name="connsiteX1" fmla="*/ 1075820 w 1406769"/>
              <a:gd name="connsiteY1" fmla="*/ 209062 h 836247"/>
              <a:gd name="connsiteX2" fmla="*/ 971289 w 1406769"/>
              <a:gd name="connsiteY2" fmla="*/ 209062 h 836247"/>
              <a:gd name="connsiteX3" fmla="*/ 1197707 w 1406769"/>
              <a:gd name="connsiteY3" fmla="*/ 0 h 836247"/>
              <a:gd name="connsiteX4" fmla="*/ 1389413 w 1406769"/>
              <a:gd name="connsiteY4" fmla="*/ 209062 h 836247"/>
              <a:gd name="connsiteX5" fmla="*/ 1284882 w 1406769"/>
              <a:gd name="connsiteY5" fmla="*/ 209062 h 836247"/>
              <a:gd name="connsiteX6" fmla="*/ 755650 w 1406769"/>
              <a:gd name="connsiteY6" fmla="*/ 836247 h 836247"/>
              <a:gd name="connsiteX7" fmla="*/ 546588 w 1406769"/>
              <a:gd name="connsiteY7" fmla="*/ 836247 h 836247"/>
              <a:gd name="connsiteX8" fmla="*/ 0 w 1406769"/>
              <a:gd name="connsiteY8" fmla="*/ 0 h 836247"/>
              <a:gd name="connsiteX9" fmla="*/ 209062 w 1406769"/>
              <a:gd name="connsiteY9" fmla="*/ 0 h 836247"/>
              <a:gd name="connsiteX10" fmla="*/ 755650 w 1406769"/>
              <a:gd name="connsiteY10" fmla="*/ 836247 h 836247"/>
              <a:gd name="connsiteX0" fmla="*/ 1197707 w 1389413"/>
              <a:gd name="connsiteY0" fmla="*/ 0 h 836376"/>
              <a:gd name="connsiteX1" fmla="*/ 1389413 w 1389413"/>
              <a:gd name="connsiteY1" fmla="*/ 209062 h 836376"/>
              <a:gd name="connsiteX2" fmla="*/ 1284882 w 1389413"/>
              <a:gd name="connsiteY2" fmla="*/ 209062 h 836376"/>
              <a:gd name="connsiteX3" fmla="*/ 651120 w 1389413"/>
              <a:gd name="connsiteY3" fmla="*/ 820812 h 836376"/>
              <a:gd name="connsiteX4" fmla="*/ 1075821 w 1389413"/>
              <a:gd name="connsiteY4" fmla="*/ 209062 h 836376"/>
              <a:gd name="connsiteX5" fmla="*/ 971289 w 1389413"/>
              <a:gd name="connsiteY5" fmla="*/ 209062 h 836376"/>
              <a:gd name="connsiteX6" fmla="*/ 1197707 w 1389413"/>
              <a:gd name="connsiteY6" fmla="*/ 0 h 836376"/>
              <a:gd name="connsiteX0" fmla="*/ 546588 w 1389413"/>
              <a:gd name="connsiteY0" fmla="*/ 836247 h 836376"/>
              <a:gd name="connsiteX1" fmla="*/ 0 w 1389413"/>
              <a:gd name="connsiteY1" fmla="*/ 0 h 836376"/>
              <a:gd name="connsiteX2" fmla="*/ 209062 w 1389413"/>
              <a:gd name="connsiteY2" fmla="*/ 0 h 836376"/>
              <a:gd name="connsiteX3" fmla="*/ 755650 w 1389413"/>
              <a:gd name="connsiteY3" fmla="*/ 836247 h 836376"/>
              <a:gd name="connsiteX4" fmla="*/ 546588 w 1389413"/>
              <a:gd name="connsiteY4" fmla="*/ 836247 h 836376"/>
              <a:gd name="connsiteX0" fmla="*/ 651119 w 1389413"/>
              <a:gd name="connsiteY0" fmla="*/ 820812 h 836376"/>
              <a:gd name="connsiteX1" fmla="*/ 1075820 w 1389413"/>
              <a:gd name="connsiteY1" fmla="*/ 209062 h 836376"/>
              <a:gd name="connsiteX2" fmla="*/ 971289 w 1389413"/>
              <a:gd name="connsiteY2" fmla="*/ 209062 h 836376"/>
              <a:gd name="connsiteX3" fmla="*/ 1197707 w 1389413"/>
              <a:gd name="connsiteY3" fmla="*/ 0 h 836376"/>
              <a:gd name="connsiteX4" fmla="*/ 1389413 w 1389413"/>
              <a:gd name="connsiteY4" fmla="*/ 209062 h 836376"/>
              <a:gd name="connsiteX5" fmla="*/ 1284882 w 1389413"/>
              <a:gd name="connsiteY5" fmla="*/ 209062 h 836376"/>
              <a:gd name="connsiteX6" fmla="*/ 755650 w 1389413"/>
              <a:gd name="connsiteY6" fmla="*/ 836247 h 836376"/>
              <a:gd name="connsiteX7" fmla="*/ 546588 w 1389413"/>
              <a:gd name="connsiteY7" fmla="*/ 836247 h 836376"/>
              <a:gd name="connsiteX8" fmla="*/ 0 w 1389413"/>
              <a:gd name="connsiteY8" fmla="*/ 0 h 836376"/>
              <a:gd name="connsiteX9" fmla="*/ 209062 w 1389413"/>
              <a:gd name="connsiteY9" fmla="*/ 0 h 836376"/>
              <a:gd name="connsiteX10" fmla="*/ 755650 w 1389413"/>
              <a:gd name="connsiteY10" fmla="*/ 836247 h 836376"/>
              <a:gd name="connsiteX0" fmla="*/ 1197707 w 1389413"/>
              <a:gd name="connsiteY0" fmla="*/ 0 h 1041511"/>
              <a:gd name="connsiteX1" fmla="*/ 1389413 w 1389413"/>
              <a:gd name="connsiteY1" fmla="*/ 209062 h 1041511"/>
              <a:gd name="connsiteX2" fmla="*/ 1284882 w 1389413"/>
              <a:gd name="connsiteY2" fmla="*/ 209062 h 1041511"/>
              <a:gd name="connsiteX3" fmla="*/ 651120 w 1389413"/>
              <a:gd name="connsiteY3" fmla="*/ 820812 h 1041511"/>
              <a:gd name="connsiteX4" fmla="*/ 1075821 w 1389413"/>
              <a:gd name="connsiteY4" fmla="*/ 209062 h 1041511"/>
              <a:gd name="connsiteX5" fmla="*/ 971289 w 1389413"/>
              <a:gd name="connsiteY5" fmla="*/ 209062 h 1041511"/>
              <a:gd name="connsiteX6" fmla="*/ 1197707 w 1389413"/>
              <a:gd name="connsiteY6" fmla="*/ 0 h 1041511"/>
              <a:gd name="connsiteX0" fmla="*/ 546588 w 1389413"/>
              <a:gd name="connsiteY0" fmla="*/ 836247 h 1041511"/>
              <a:gd name="connsiteX1" fmla="*/ 0 w 1389413"/>
              <a:gd name="connsiteY1" fmla="*/ 0 h 1041511"/>
              <a:gd name="connsiteX2" fmla="*/ 209062 w 1389413"/>
              <a:gd name="connsiteY2" fmla="*/ 0 h 1041511"/>
              <a:gd name="connsiteX3" fmla="*/ 755650 w 1389413"/>
              <a:gd name="connsiteY3" fmla="*/ 836247 h 1041511"/>
              <a:gd name="connsiteX4" fmla="*/ 546588 w 1389413"/>
              <a:gd name="connsiteY4" fmla="*/ 836247 h 1041511"/>
              <a:gd name="connsiteX0" fmla="*/ 651119 w 1389413"/>
              <a:gd name="connsiteY0" fmla="*/ 820812 h 1041511"/>
              <a:gd name="connsiteX1" fmla="*/ 1075820 w 1389413"/>
              <a:gd name="connsiteY1" fmla="*/ 209062 h 1041511"/>
              <a:gd name="connsiteX2" fmla="*/ 971289 w 1389413"/>
              <a:gd name="connsiteY2" fmla="*/ 209062 h 1041511"/>
              <a:gd name="connsiteX3" fmla="*/ 1197707 w 1389413"/>
              <a:gd name="connsiteY3" fmla="*/ 0 h 1041511"/>
              <a:gd name="connsiteX4" fmla="*/ 1389413 w 1389413"/>
              <a:gd name="connsiteY4" fmla="*/ 209062 h 1041511"/>
              <a:gd name="connsiteX5" fmla="*/ 1284882 w 1389413"/>
              <a:gd name="connsiteY5" fmla="*/ 209062 h 1041511"/>
              <a:gd name="connsiteX6" fmla="*/ 755650 w 1389413"/>
              <a:gd name="connsiteY6" fmla="*/ 836247 h 1041511"/>
              <a:gd name="connsiteX7" fmla="*/ 546588 w 1389413"/>
              <a:gd name="connsiteY7" fmla="*/ 836247 h 1041511"/>
              <a:gd name="connsiteX8" fmla="*/ 648677 w 1389413"/>
              <a:gd name="connsiteY8" fmla="*/ 836246 h 1041511"/>
              <a:gd name="connsiteX9" fmla="*/ 209062 w 1389413"/>
              <a:gd name="connsiteY9" fmla="*/ 0 h 1041511"/>
              <a:gd name="connsiteX10" fmla="*/ 755650 w 1389413"/>
              <a:gd name="connsiteY10" fmla="*/ 836247 h 1041511"/>
              <a:gd name="connsiteX0" fmla="*/ 1197707 w 1389413"/>
              <a:gd name="connsiteY0" fmla="*/ 0 h 840048"/>
              <a:gd name="connsiteX1" fmla="*/ 1389413 w 1389413"/>
              <a:gd name="connsiteY1" fmla="*/ 209062 h 840048"/>
              <a:gd name="connsiteX2" fmla="*/ 1284882 w 1389413"/>
              <a:gd name="connsiteY2" fmla="*/ 209062 h 840048"/>
              <a:gd name="connsiteX3" fmla="*/ 651120 w 1389413"/>
              <a:gd name="connsiteY3" fmla="*/ 820812 h 840048"/>
              <a:gd name="connsiteX4" fmla="*/ 1075821 w 1389413"/>
              <a:gd name="connsiteY4" fmla="*/ 209062 h 840048"/>
              <a:gd name="connsiteX5" fmla="*/ 971289 w 1389413"/>
              <a:gd name="connsiteY5" fmla="*/ 209062 h 840048"/>
              <a:gd name="connsiteX6" fmla="*/ 1197707 w 1389413"/>
              <a:gd name="connsiteY6" fmla="*/ 0 h 840048"/>
              <a:gd name="connsiteX0" fmla="*/ 546588 w 1389413"/>
              <a:gd name="connsiteY0" fmla="*/ 836247 h 840048"/>
              <a:gd name="connsiteX1" fmla="*/ 0 w 1389413"/>
              <a:gd name="connsiteY1" fmla="*/ 0 h 840048"/>
              <a:gd name="connsiteX2" fmla="*/ 209062 w 1389413"/>
              <a:gd name="connsiteY2" fmla="*/ 0 h 840048"/>
              <a:gd name="connsiteX3" fmla="*/ 755650 w 1389413"/>
              <a:gd name="connsiteY3" fmla="*/ 836247 h 840048"/>
              <a:gd name="connsiteX4" fmla="*/ 546588 w 1389413"/>
              <a:gd name="connsiteY4" fmla="*/ 836247 h 840048"/>
              <a:gd name="connsiteX0" fmla="*/ 651119 w 1389413"/>
              <a:gd name="connsiteY0" fmla="*/ 820812 h 840048"/>
              <a:gd name="connsiteX1" fmla="*/ 1075820 w 1389413"/>
              <a:gd name="connsiteY1" fmla="*/ 209062 h 840048"/>
              <a:gd name="connsiteX2" fmla="*/ 971289 w 1389413"/>
              <a:gd name="connsiteY2" fmla="*/ 209062 h 840048"/>
              <a:gd name="connsiteX3" fmla="*/ 1197707 w 1389413"/>
              <a:gd name="connsiteY3" fmla="*/ 0 h 840048"/>
              <a:gd name="connsiteX4" fmla="*/ 1389413 w 1389413"/>
              <a:gd name="connsiteY4" fmla="*/ 209062 h 840048"/>
              <a:gd name="connsiteX5" fmla="*/ 1284882 w 1389413"/>
              <a:gd name="connsiteY5" fmla="*/ 209062 h 840048"/>
              <a:gd name="connsiteX6" fmla="*/ 755650 w 1389413"/>
              <a:gd name="connsiteY6" fmla="*/ 836247 h 840048"/>
              <a:gd name="connsiteX7" fmla="*/ 546588 w 1389413"/>
              <a:gd name="connsiteY7" fmla="*/ 836247 h 840048"/>
              <a:gd name="connsiteX8" fmla="*/ 648677 w 1389413"/>
              <a:gd name="connsiteY8" fmla="*/ 836246 h 840048"/>
              <a:gd name="connsiteX9" fmla="*/ 209062 w 1389413"/>
              <a:gd name="connsiteY9" fmla="*/ 0 h 840048"/>
              <a:gd name="connsiteX10" fmla="*/ 755650 w 1389413"/>
              <a:gd name="connsiteY10" fmla="*/ 836247 h 840048"/>
              <a:gd name="connsiteX0" fmla="*/ 1197707 w 1389413"/>
              <a:gd name="connsiteY0" fmla="*/ 0 h 840048"/>
              <a:gd name="connsiteX1" fmla="*/ 1389413 w 1389413"/>
              <a:gd name="connsiteY1" fmla="*/ 209062 h 840048"/>
              <a:gd name="connsiteX2" fmla="*/ 1284882 w 1389413"/>
              <a:gd name="connsiteY2" fmla="*/ 209062 h 840048"/>
              <a:gd name="connsiteX3" fmla="*/ 651120 w 1389413"/>
              <a:gd name="connsiteY3" fmla="*/ 820812 h 840048"/>
              <a:gd name="connsiteX4" fmla="*/ 1075821 w 1389413"/>
              <a:gd name="connsiteY4" fmla="*/ 209062 h 840048"/>
              <a:gd name="connsiteX5" fmla="*/ 971289 w 1389413"/>
              <a:gd name="connsiteY5" fmla="*/ 209062 h 840048"/>
              <a:gd name="connsiteX6" fmla="*/ 1197707 w 1389413"/>
              <a:gd name="connsiteY6" fmla="*/ 0 h 840048"/>
              <a:gd name="connsiteX0" fmla="*/ 546588 w 1389413"/>
              <a:gd name="connsiteY0" fmla="*/ 836247 h 840048"/>
              <a:gd name="connsiteX1" fmla="*/ 0 w 1389413"/>
              <a:gd name="connsiteY1" fmla="*/ 0 h 840048"/>
              <a:gd name="connsiteX2" fmla="*/ 209062 w 1389413"/>
              <a:gd name="connsiteY2" fmla="*/ 0 h 840048"/>
              <a:gd name="connsiteX3" fmla="*/ 755650 w 1389413"/>
              <a:gd name="connsiteY3" fmla="*/ 836247 h 840048"/>
              <a:gd name="connsiteX4" fmla="*/ 546588 w 1389413"/>
              <a:gd name="connsiteY4" fmla="*/ 836247 h 840048"/>
              <a:gd name="connsiteX0" fmla="*/ 651119 w 1389413"/>
              <a:gd name="connsiteY0" fmla="*/ 820812 h 840048"/>
              <a:gd name="connsiteX1" fmla="*/ 1075820 w 1389413"/>
              <a:gd name="connsiteY1" fmla="*/ 209062 h 840048"/>
              <a:gd name="connsiteX2" fmla="*/ 971289 w 1389413"/>
              <a:gd name="connsiteY2" fmla="*/ 209062 h 840048"/>
              <a:gd name="connsiteX3" fmla="*/ 1197707 w 1389413"/>
              <a:gd name="connsiteY3" fmla="*/ 0 h 840048"/>
              <a:gd name="connsiteX4" fmla="*/ 1389413 w 1389413"/>
              <a:gd name="connsiteY4" fmla="*/ 209062 h 840048"/>
              <a:gd name="connsiteX5" fmla="*/ 1284882 w 1389413"/>
              <a:gd name="connsiteY5" fmla="*/ 209062 h 840048"/>
              <a:gd name="connsiteX6" fmla="*/ 755650 w 1389413"/>
              <a:gd name="connsiteY6" fmla="*/ 836247 h 840048"/>
              <a:gd name="connsiteX7" fmla="*/ 546588 w 1389413"/>
              <a:gd name="connsiteY7" fmla="*/ 836247 h 840048"/>
              <a:gd name="connsiteX8" fmla="*/ 648677 w 1389413"/>
              <a:gd name="connsiteY8" fmla="*/ 836246 h 840048"/>
              <a:gd name="connsiteX9" fmla="*/ 209062 w 1389413"/>
              <a:gd name="connsiteY9" fmla="*/ 0 h 840048"/>
              <a:gd name="connsiteX10" fmla="*/ 755650 w 1389413"/>
              <a:gd name="connsiteY10" fmla="*/ 836247 h 840048"/>
              <a:gd name="connsiteX0" fmla="*/ 988645 w 1180351"/>
              <a:gd name="connsiteY0" fmla="*/ 0 h 1014983"/>
              <a:gd name="connsiteX1" fmla="*/ 1180351 w 1180351"/>
              <a:gd name="connsiteY1" fmla="*/ 209062 h 1014983"/>
              <a:gd name="connsiteX2" fmla="*/ 1075820 w 1180351"/>
              <a:gd name="connsiteY2" fmla="*/ 209062 h 1014983"/>
              <a:gd name="connsiteX3" fmla="*/ 442058 w 1180351"/>
              <a:gd name="connsiteY3" fmla="*/ 820812 h 1014983"/>
              <a:gd name="connsiteX4" fmla="*/ 866759 w 1180351"/>
              <a:gd name="connsiteY4" fmla="*/ 209062 h 1014983"/>
              <a:gd name="connsiteX5" fmla="*/ 762227 w 1180351"/>
              <a:gd name="connsiteY5" fmla="*/ 209062 h 1014983"/>
              <a:gd name="connsiteX6" fmla="*/ 988645 w 1180351"/>
              <a:gd name="connsiteY6" fmla="*/ 0 h 1014983"/>
              <a:gd name="connsiteX0" fmla="*/ 337526 w 1180351"/>
              <a:gd name="connsiteY0" fmla="*/ 836247 h 1014983"/>
              <a:gd name="connsiteX1" fmla="*/ 408353 w 1180351"/>
              <a:gd name="connsiteY1" fmla="*/ 797169 h 1014983"/>
              <a:gd name="connsiteX2" fmla="*/ 0 w 1180351"/>
              <a:gd name="connsiteY2" fmla="*/ 0 h 1014983"/>
              <a:gd name="connsiteX3" fmla="*/ 546588 w 1180351"/>
              <a:gd name="connsiteY3" fmla="*/ 836247 h 1014983"/>
              <a:gd name="connsiteX4" fmla="*/ 337526 w 1180351"/>
              <a:gd name="connsiteY4" fmla="*/ 836247 h 1014983"/>
              <a:gd name="connsiteX0" fmla="*/ 442057 w 1180351"/>
              <a:gd name="connsiteY0" fmla="*/ 820812 h 1014983"/>
              <a:gd name="connsiteX1" fmla="*/ 866758 w 1180351"/>
              <a:gd name="connsiteY1" fmla="*/ 209062 h 1014983"/>
              <a:gd name="connsiteX2" fmla="*/ 762227 w 1180351"/>
              <a:gd name="connsiteY2" fmla="*/ 209062 h 1014983"/>
              <a:gd name="connsiteX3" fmla="*/ 988645 w 1180351"/>
              <a:gd name="connsiteY3" fmla="*/ 0 h 1014983"/>
              <a:gd name="connsiteX4" fmla="*/ 1180351 w 1180351"/>
              <a:gd name="connsiteY4" fmla="*/ 209062 h 1014983"/>
              <a:gd name="connsiteX5" fmla="*/ 1075820 w 1180351"/>
              <a:gd name="connsiteY5" fmla="*/ 209062 h 1014983"/>
              <a:gd name="connsiteX6" fmla="*/ 546588 w 1180351"/>
              <a:gd name="connsiteY6" fmla="*/ 836247 h 1014983"/>
              <a:gd name="connsiteX7" fmla="*/ 337526 w 1180351"/>
              <a:gd name="connsiteY7" fmla="*/ 836247 h 1014983"/>
              <a:gd name="connsiteX8" fmla="*/ 439615 w 1180351"/>
              <a:gd name="connsiteY8" fmla="*/ 836246 h 1014983"/>
              <a:gd name="connsiteX9" fmla="*/ 0 w 1180351"/>
              <a:gd name="connsiteY9" fmla="*/ 0 h 1014983"/>
              <a:gd name="connsiteX10" fmla="*/ 546588 w 1180351"/>
              <a:gd name="connsiteY10" fmla="*/ 836247 h 1014983"/>
              <a:gd name="connsiteX0" fmla="*/ 988645 w 1180351"/>
              <a:gd name="connsiteY0" fmla="*/ 0 h 840048"/>
              <a:gd name="connsiteX1" fmla="*/ 1180351 w 1180351"/>
              <a:gd name="connsiteY1" fmla="*/ 209062 h 840048"/>
              <a:gd name="connsiteX2" fmla="*/ 1075820 w 1180351"/>
              <a:gd name="connsiteY2" fmla="*/ 209062 h 840048"/>
              <a:gd name="connsiteX3" fmla="*/ 442058 w 1180351"/>
              <a:gd name="connsiteY3" fmla="*/ 820812 h 840048"/>
              <a:gd name="connsiteX4" fmla="*/ 866759 w 1180351"/>
              <a:gd name="connsiteY4" fmla="*/ 209062 h 840048"/>
              <a:gd name="connsiteX5" fmla="*/ 762227 w 1180351"/>
              <a:gd name="connsiteY5" fmla="*/ 209062 h 840048"/>
              <a:gd name="connsiteX6" fmla="*/ 988645 w 1180351"/>
              <a:gd name="connsiteY6" fmla="*/ 0 h 840048"/>
              <a:gd name="connsiteX0" fmla="*/ 337526 w 1180351"/>
              <a:gd name="connsiteY0" fmla="*/ 836247 h 840048"/>
              <a:gd name="connsiteX1" fmla="*/ 408353 w 1180351"/>
              <a:gd name="connsiteY1" fmla="*/ 797169 h 840048"/>
              <a:gd name="connsiteX2" fmla="*/ 0 w 1180351"/>
              <a:gd name="connsiteY2" fmla="*/ 0 h 840048"/>
              <a:gd name="connsiteX3" fmla="*/ 546588 w 1180351"/>
              <a:gd name="connsiteY3" fmla="*/ 836247 h 840048"/>
              <a:gd name="connsiteX4" fmla="*/ 337526 w 1180351"/>
              <a:gd name="connsiteY4" fmla="*/ 836247 h 840048"/>
              <a:gd name="connsiteX0" fmla="*/ 442057 w 1180351"/>
              <a:gd name="connsiteY0" fmla="*/ 820812 h 840048"/>
              <a:gd name="connsiteX1" fmla="*/ 866758 w 1180351"/>
              <a:gd name="connsiteY1" fmla="*/ 209062 h 840048"/>
              <a:gd name="connsiteX2" fmla="*/ 762227 w 1180351"/>
              <a:gd name="connsiteY2" fmla="*/ 209062 h 840048"/>
              <a:gd name="connsiteX3" fmla="*/ 988645 w 1180351"/>
              <a:gd name="connsiteY3" fmla="*/ 0 h 840048"/>
              <a:gd name="connsiteX4" fmla="*/ 1180351 w 1180351"/>
              <a:gd name="connsiteY4" fmla="*/ 209062 h 840048"/>
              <a:gd name="connsiteX5" fmla="*/ 1075820 w 1180351"/>
              <a:gd name="connsiteY5" fmla="*/ 209062 h 840048"/>
              <a:gd name="connsiteX6" fmla="*/ 546588 w 1180351"/>
              <a:gd name="connsiteY6" fmla="*/ 836247 h 840048"/>
              <a:gd name="connsiteX7" fmla="*/ 337526 w 1180351"/>
              <a:gd name="connsiteY7" fmla="*/ 836247 h 840048"/>
              <a:gd name="connsiteX8" fmla="*/ 439615 w 1180351"/>
              <a:gd name="connsiteY8" fmla="*/ 836246 h 840048"/>
              <a:gd name="connsiteX9" fmla="*/ 0 w 1180351"/>
              <a:gd name="connsiteY9" fmla="*/ 0 h 840048"/>
              <a:gd name="connsiteX10" fmla="*/ 546588 w 1180351"/>
              <a:gd name="connsiteY10" fmla="*/ 836247 h 840048"/>
              <a:gd name="connsiteX0" fmla="*/ 988645 w 1180351"/>
              <a:gd name="connsiteY0" fmla="*/ 0 h 840048"/>
              <a:gd name="connsiteX1" fmla="*/ 1180351 w 1180351"/>
              <a:gd name="connsiteY1" fmla="*/ 209062 h 840048"/>
              <a:gd name="connsiteX2" fmla="*/ 1075820 w 1180351"/>
              <a:gd name="connsiteY2" fmla="*/ 209062 h 840048"/>
              <a:gd name="connsiteX3" fmla="*/ 442058 w 1180351"/>
              <a:gd name="connsiteY3" fmla="*/ 820812 h 840048"/>
              <a:gd name="connsiteX4" fmla="*/ 866759 w 1180351"/>
              <a:gd name="connsiteY4" fmla="*/ 209062 h 840048"/>
              <a:gd name="connsiteX5" fmla="*/ 762227 w 1180351"/>
              <a:gd name="connsiteY5" fmla="*/ 209062 h 840048"/>
              <a:gd name="connsiteX6" fmla="*/ 988645 w 1180351"/>
              <a:gd name="connsiteY6" fmla="*/ 0 h 840048"/>
              <a:gd name="connsiteX0" fmla="*/ 337526 w 1180351"/>
              <a:gd name="connsiteY0" fmla="*/ 836247 h 840048"/>
              <a:gd name="connsiteX1" fmla="*/ 408353 w 1180351"/>
              <a:gd name="connsiteY1" fmla="*/ 797169 h 840048"/>
              <a:gd name="connsiteX2" fmla="*/ 0 w 1180351"/>
              <a:gd name="connsiteY2" fmla="*/ 0 h 840048"/>
              <a:gd name="connsiteX3" fmla="*/ 546588 w 1180351"/>
              <a:gd name="connsiteY3" fmla="*/ 836247 h 840048"/>
              <a:gd name="connsiteX4" fmla="*/ 337526 w 1180351"/>
              <a:gd name="connsiteY4" fmla="*/ 836247 h 840048"/>
              <a:gd name="connsiteX0" fmla="*/ 442057 w 1180351"/>
              <a:gd name="connsiteY0" fmla="*/ 820812 h 840048"/>
              <a:gd name="connsiteX1" fmla="*/ 866758 w 1180351"/>
              <a:gd name="connsiteY1" fmla="*/ 209062 h 840048"/>
              <a:gd name="connsiteX2" fmla="*/ 762227 w 1180351"/>
              <a:gd name="connsiteY2" fmla="*/ 209062 h 840048"/>
              <a:gd name="connsiteX3" fmla="*/ 988645 w 1180351"/>
              <a:gd name="connsiteY3" fmla="*/ 0 h 840048"/>
              <a:gd name="connsiteX4" fmla="*/ 1180351 w 1180351"/>
              <a:gd name="connsiteY4" fmla="*/ 209062 h 840048"/>
              <a:gd name="connsiteX5" fmla="*/ 1075820 w 1180351"/>
              <a:gd name="connsiteY5" fmla="*/ 209062 h 840048"/>
              <a:gd name="connsiteX6" fmla="*/ 546588 w 1180351"/>
              <a:gd name="connsiteY6" fmla="*/ 836247 h 840048"/>
              <a:gd name="connsiteX7" fmla="*/ 337526 w 1180351"/>
              <a:gd name="connsiteY7" fmla="*/ 836247 h 840048"/>
              <a:gd name="connsiteX8" fmla="*/ 439615 w 1180351"/>
              <a:gd name="connsiteY8" fmla="*/ 836246 h 840048"/>
              <a:gd name="connsiteX9" fmla="*/ 0 w 1180351"/>
              <a:gd name="connsiteY9" fmla="*/ 0 h 840048"/>
              <a:gd name="connsiteX10" fmla="*/ 546588 w 1180351"/>
              <a:gd name="connsiteY10" fmla="*/ 836247 h 840048"/>
              <a:gd name="connsiteX0" fmla="*/ 988645 w 1180351"/>
              <a:gd name="connsiteY0" fmla="*/ 0 h 1030012"/>
              <a:gd name="connsiteX1" fmla="*/ 1180351 w 1180351"/>
              <a:gd name="connsiteY1" fmla="*/ 209062 h 1030012"/>
              <a:gd name="connsiteX2" fmla="*/ 1075820 w 1180351"/>
              <a:gd name="connsiteY2" fmla="*/ 209062 h 1030012"/>
              <a:gd name="connsiteX3" fmla="*/ 442058 w 1180351"/>
              <a:gd name="connsiteY3" fmla="*/ 820812 h 1030012"/>
              <a:gd name="connsiteX4" fmla="*/ 866759 w 1180351"/>
              <a:gd name="connsiteY4" fmla="*/ 209062 h 1030012"/>
              <a:gd name="connsiteX5" fmla="*/ 762227 w 1180351"/>
              <a:gd name="connsiteY5" fmla="*/ 209062 h 1030012"/>
              <a:gd name="connsiteX6" fmla="*/ 988645 w 1180351"/>
              <a:gd name="connsiteY6" fmla="*/ 0 h 1030012"/>
              <a:gd name="connsiteX0" fmla="*/ 337526 w 1180351"/>
              <a:gd name="connsiteY0" fmla="*/ 836247 h 1030012"/>
              <a:gd name="connsiteX1" fmla="*/ 408353 w 1180351"/>
              <a:gd name="connsiteY1" fmla="*/ 797169 h 1030012"/>
              <a:gd name="connsiteX2" fmla="*/ 0 w 1180351"/>
              <a:gd name="connsiteY2" fmla="*/ 0 h 1030012"/>
              <a:gd name="connsiteX3" fmla="*/ 546588 w 1180351"/>
              <a:gd name="connsiteY3" fmla="*/ 836247 h 1030012"/>
              <a:gd name="connsiteX4" fmla="*/ 337526 w 1180351"/>
              <a:gd name="connsiteY4" fmla="*/ 836247 h 1030012"/>
              <a:gd name="connsiteX0" fmla="*/ 442057 w 1180351"/>
              <a:gd name="connsiteY0" fmla="*/ 820812 h 1030012"/>
              <a:gd name="connsiteX1" fmla="*/ 866758 w 1180351"/>
              <a:gd name="connsiteY1" fmla="*/ 209062 h 1030012"/>
              <a:gd name="connsiteX2" fmla="*/ 762227 w 1180351"/>
              <a:gd name="connsiteY2" fmla="*/ 209062 h 1030012"/>
              <a:gd name="connsiteX3" fmla="*/ 988645 w 1180351"/>
              <a:gd name="connsiteY3" fmla="*/ 0 h 1030012"/>
              <a:gd name="connsiteX4" fmla="*/ 1180351 w 1180351"/>
              <a:gd name="connsiteY4" fmla="*/ 209062 h 1030012"/>
              <a:gd name="connsiteX5" fmla="*/ 1075820 w 1180351"/>
              <a:gd name="connsiteY5" fmla="*/ 209062 h 1030012"/>
              <a:gd name="connsiteX6" fmla="*/ 546588 w 1180351"/>
              <a:gd name="connsiteY6" fmla="*/ 836247 h 1030012"/>
              <a:gd name="connsiteX7" fmla="*/ 337526 w 1180351"/>
              <a:gd name="connsiteY7" fmla="*/ 836247 h 1030012"/>
              <a:gd name="connsiteX8" fmla="*/ 439615 w 1180351"/>
              <a:gd name="connsiteY8" fmla="*/ 836246 h 1030012"/>
              <a:gd name="connsiteX9" fmla="*/ 453293 w 1180351"/>
              <a:gd name="connsiteY9" fmla="*/ 820615 h 1030012"/>
              <a:gd name="connsiteX10" fmla="*/ 546588 w 1180351"/>
              <a:gd name="connsiteY10" fmla="*/ 836247 h 1030012"/>
              <a:gd name="connsiteX0" fmla="*/ 988645 w 1180351"/>
              <a:gd name="connsiteY0" fmla="*/ 0 h 1030012"/>
              <a:gd name="connsiteX1" fmla="*/ 1180351 w 1180351"/>
              <a:gd name="connsiteY1" fmla="*/ 209062 h 1030012"/>
              <a:gd name="connsiteX2" fmla="*/ 1075820 w 1180351"/>
              <a:gd name="connsiteY2" fmla="*/ 209062 h 1030012"/>
              <a:gd name="connsiteX3" fmla="*/ 442058 w 1180351"/>
              <a:gd name="connsiteY3" fmla="*/ 820812 h 1030012"/>
              <a:gd name="connsiteX4" fmla="*/ 866759 w 1180351"/>
              <a:gd name="connsiteY4" fmla="*/ 209062 h 1030012"/>
              <a:gd name="connsiteX5" fmla="*/ 762227 w 1180351"/>
              <a:gd name="connsiteY5" fmla="*/ 209062 h 1030012"/>
              <a:gd name="connsiteX6" fmla="*/ 988645 w 1180351"/>
              <a:gd name="connsiteY6" fmla="*/ 0 h 1030012"/>
              <a:gd name="connsiteX0" fmla="*/ 337526 w 1180351"/>
              <a:gd name="connsiteY0" fmla="*/ 836247 h 1030012"/>
              <a:gd name="connsiteX1" fmla="*/ 408353 w 1180351"/>
              <a:gd name="connsiteY1" fmla="*/ 797169 h 1030012"/>
              <a:gd name="connsiteX2" fmla="*/ 0 w 1180351"/>
              <a:gd name="connsiteY2" fmla="*/ 0 h 1030012"/>
              <a:gd name="connsiteX3" fmla="*/ 546588 w 1180351"/>
              <a:gd name="connsiteY3" fmla="*/ 836247 h 1030012"/>
              <a:gd name="connsiteX4" fmla="*/ 337526 w 1180351"/>
              <a:gd name="connsiteY4" fmla="*/ 836247 h 1030012"/>
              <a:gd name="connsiteX0" fmla="*/ 442057 w 1180351"/>
              <a:gd name="connsiteY0" fmla="*/ 820812 h 1030012"/>
              <a:gd name="connsiteX1" fmla="*/ 866758 w 1180351"/>
              <a:gd name="connsiteY1" fmla="*/ 209062 h 1030012"/>
              <a:gd name="connsiteX2" fmla="*/ 762227 w 1180351"/>
              <a:gd name="connsiteY2" fmla="*/ 209062 h 1030012"/>
              <a:gd name="connsiteX3" fmla="*/ 988645 w 1180351"/>
              <a:gd name="connsiteY3" fmla="*/ 0 h 1030012"/>
              <a:gd name="connsiteX4" fmla="*/ 1180351 w 1180351"/>
              <a:gd name="connsiteY4" fmla="*/ 209062 h 1030012"/>
              <a:gd name="connsiteX5" fmla="*/ 1075820 w 1180351"/>
              <a:gd name="connsiteY5" fmla="*/ 209062 h 1030012"/>
              <a:gd name="connsiteX6" fmla="*/ 546588 w 1180351"/>
              <a:gd name="connsiteY6" fmla="*/ 836247 h 1030012"/>
              <a:gd name="connsiteX7" fmla="*/ 337526 w 1180351"/>
              <a:gd name="connsiteY7" fmla="*/ 836247 h 1030012"/>
              <a:gd name="connsiteX8" fmla="*/ 439615 w 1180351"/>
              <a:gd name="connsiteY8" fmla="*/ 836246 h 1030012"/>
              <a:gd name="connsiteX9" fmla="*/ 453293 w 1180351"/>
              <a:gd name="connsiteY9" fmla="*/ 820615 h 1030012"/>
              <a:gd name="connsiteX10" fmla="*/ 546588 w 1180351"/>
              <a:gd name="connsiteY10" fmla="*/ 836247 h 1030012"/>
              <a:gd name="connsiteX0" fmla="*/ 988645 w 1180351"/>
              <a:gd name="connsiteY0" fmla="*/ 0 h 840180"/>
              <a:gd name="connsiteX1" fmla="*/ 1180351 w 1180351"/>
              <a:gd name="connsiteY1" fmla="*/ 209062 h 840180"/>
              <a:gd name="connsiteX2" fmla="*/ 1075820 w 1180351"/>
              <a:gd name="connsiteY2" fmla="*/ 209062 h 840180"/>
              <a:gd name="connsiteX3" fmla="*/ 442058 w 1180351"/>
              <a:gd name="connsiteY3" fmla="*/ 820812 h 840180"/>
              <a:gd name="connsiteX4" fmla="*/ 866759 w 1180351"/>
              <a:gd name="connsiteY4" fmla="*/ 209062 h 840180"/>
              <a:gd name="connsiteX5" fmla="*/ 762227 w 1180351"/>
              <a:gd name="connsiteY5" fmla="*/ 209062 h 840180"/>
              <a:gd name="connsiteX6" fmla="*/ 988645 w 1180351"/>
              <a:gd name="connsiteY6" fmla="*/ 0 h 840180"/>
              <a:gd name="connsiteX0" fmla="*/ 337526 w 1180351"/>
              <a:gd name="connsiteY0" fmla="*/ 836247 h 840180"/>
              <a:gd name="connsiteX1" fmla="*/ 408353 w 1180351"/>
              <a:gd name="connsiteY1" fmla="*/ 797169 h 840180"/>
              <a:gd name="connsiteX2" fmla="*/ 0 w 1180351"/>
              <a:gd name="connsiteY2" fmla="*/ 0 h 840180"/>
              <a:gd name="connsiteX3" fmla="*/ 546588 w 1180351"/>
              <a:gd name="connsiteY3" fmla="*/ 836247 h 840180"/>
              <a:gd name="connsiteX4" fmla="*/ 337526 w 1180351"/>
              <a:gd name="connsiteY4" fmla="*/ 836247 h 840180"/>
              <a:gd name="connsiteX0" fmla="*/ 442057 w 1180351"/>
              <a:gd name="connsiteY0" fmla="*/ 820812 h 840180"/>
              <a:gd name="connsiteX1" fmla="*/ 866758 w 1180351"/>
              <a:gd name="connsiteY1" fmla="*/ 209062 h 840180"/>
              <a:gd name="connsiteX2" fmla="*/ 762227 w 1180351"/>
              <a:gd name="connsiteY2" fmla="*/ 209062 h 840180"/>
              <a:gd name="connsiteX3" fmla="*/ 988645 w 1180351"/>
              <a:gd name="connsiteY3" fmla="*/ 0 h 840180"/>
              <a:gd name="connsiteX4" fmla="*/ 1180351 w 1180351"/>
              <a:gd name="connsiteY4" fmla="*/ 209062 h 840180"/>
              <a:gd name="connsiteX5" fmla="*/ 1075820 w 1180351"/>
              <a:gd name="connsiteY5" fmla="*/ 209062 h 840180"/>
              <a:gd name="connsiteX6" fmla="*/ 546588 w 1180351"/>
              <a:gd name="connsiteY6" fmla="*/ 836247 h 840180"/>
              <a:gd name="connsiteX7" fmla="*/ 337526 w 1180351"/>
              <a:gd name="connsiteY7" fmla="*/ 836247 h 840180"/>
              <a:gd name="connsiteX8" fmla="*/ 439615 w 1180351"/>
              <a:gd name="connsiteY8" fmla="*/ 836246 h 840180"/>
              <a:gd name="connsiteX9" fmla="*/ 453293 w 1180351"/>
              <a:gd name="connsiteY9" fmla="*/ 820615 h 840180"/>
              <a:gd name="connsiteX10" fmla="*/ 546588 w 1180351"/>
              <a:gd name="connsiteY10" fmla="*/ 836247 h 840180"/>
              <a:gd name="connsiteX0" fmla="*/ 760640 w 952346"/>
              <a:gd name="connsiteY0" fmla="*/ 0 h 1018680"/>
              <a:gd name="connsiteX1" fmla="*/ 952346 w 952346"/>
              <a:gd name="connsiteY1" fmla="*/ 209062 h 1018680"/>
              <a:gd name="connsiteX2" fmla="*/ 847815 w 952346"/>
              <a:gd name="connsiteY2" fmla="*/ 209062 h 1018680"/>
              <a:gd name="connsiteX3" fmla="*/ 214053 w 952346"/>
              <a:gd name="connsiteY3" fmla="*/ 820812 h 1018680"/>
              <a:gd name="connsiteX4" fmla="*/ 638754 w 952346"/>
              <a:gd name="connsiteY4" fmla="*/ 209062 h 1018680"/>
              <a:gd name="connsiteX5" fmla="*/ 534222 w 952346"/>
              <a:gd name="connsiteY5" fmla="*/ 209062 h 1018680"/>
              <a:gd name="connsiteX6" fmla="*/ 760640 w 952346"/>
              <a:gd name="connsiteY6" fmla="*/ 0 h 1018680"/>
              <a:gd name="connsiteX0" fmla="*/ 109521 w 952346"/>
              <a:gd name="connsiteY0" fmla="*/ 836247 h 1018680"/>
              <a:gd name="connsiteX1" fmla="*/ 180348 w 952346"/>
              <a:gd name="connsiteY1" fmla="*/ 797169 h 1018680"/>
              <a:gd name="connsiteX2" fmla="*/ 201841 w 952346"/>
              <a:gd name="connsiteY2" fmla="*/ 804985 h 1018680"/>
              <a:gd name="connsiteX3" fmla="*/ 318583 w 952346"/>
              <a:gd name="connsiteY3" fmla="*/ 836247 h 1018680"/>
              <a:gd name="connsiteX4" fmla="*/ 109521 w 952346"/>
              <a:gd name="connsiteY4" fmla="*/ 836247 h 1018680"/>
              <a:gd name="connsiteX0" fmla="*/ 214052 w 952346"/>
              <a:gd name="connsiteY0" fmla="*/ 820812 h 1018680"/>
              <a:gd name="connsiteX1" fmla="*/ 638753 w 952346"/>
              <a:gd name="connsiteY1" fmla="*/ 209062 h 1018680"/>
              <a:gd name="connsiteX2" fmla="*/ 534222 w 952346"/>
              <a:gd name="connsiteY2" fmla="*/ 209062 h 1018680"/>
              <a:gd name="connsiteX3" fmla="*/ 760640 w 952346"/>
              <a:gd name="connsiteY3" fmla="*/ 0 h 1018680"/>
              <a:gd name="connsiteX4" fmla="*/ 952346 w 952346"/>
              <a:gd name="connsiteY4" fmla="*/ 209062 h 1018680"/>
              <a:gd name="connsiteX5" fmla="*/ 847815 w 952346"/>
              <a:gd name="connsiteY5" fmla="*/ 209062 h 1018680"/>
              <a:gd name="connsiteX6" fmla="*/ 318583 w 952346"/>
              <a:gd name="connsiteY6" fmla="*/ 836247 h 1018680"/>
              <a:gd name="connsiteX7" fmla="*/ 109521 w 952346"/>
              <a:gd name="connsiteY7" fmla="*/ 836247 h 1018680"/>
              <a:gd name="connsiteX8" fmla="*/ 211610 w 952346"/>
              <a:gd name="connsiteY8" fmla="*/ 836246 h 1018680"/>
              <a:gd name="connsiteX9" fmla="*/ 225288 w 952346"/>
              <a:gd name="connsiteY9" fmla="*/ 820615 h 1018680"/>
              <a:gd name="connsiteX10" fmla="*/ 318583 w 952346"/>
              <a:gd name="connsiteY10" fmla="*/ 836247 h 1018680"/>
              <a:gd name="connsiteX0" fmla="*/ 760640 w 952346"/>
              <a:gd name="connsiteY0" fmla="*/ 0 h 928141"/>
              <a:gd name="connsiteX1" fmla="*/ 952346 w 952346"/>
              <a:gd name="connsiteY1" fmla="*/ 209062 h 928141"/>
              <a:gd name="connsiteX2" fmla="*/ 847815 w 952346"/>
              <a:gd name="connsiteY2" fmla="*/ 209062 h 928141"/>
              <a:gd name="connsiteX3" fmla="*/ 214053 w 952346"/>
              <a:gd name="connsiteY3" fmla="*/ 820812 h 928141"/>
              <a:gd name="connsiteX4" fmla="*/ 638754 w 952346"/>
              <a:gd name="connsiteY4" fmla="*/ 209062 h 928141"/>
              <a:gd name="connsiteX5" fmla="*/ 534222 w 952346"/>
              <a:gd name="connsiteY5" fmla="*/ 209062 h 928141"/>
              <a:gd name="connsiteX6" fmla="*/ 760640 w 952346"/>
              <a:gd name="connsiteY6" fmla="*/ 0 h 928141"/>
              <a:gd name="connsiteX0" fmla="*/ 109521 w 952346"/>
              <a:gd name="connsiteY0" fmla="*/ 836247 h 928141"/>
              <a:gd name="connsiteX1" fmla="*/ 180348 w 952346"/>
              <a:gd name="connsiteY1" fmla="*/ 797169 h 928141"/>
              <a:gd name="connsiteX2" fmla="*/ 201841 w 952346"/>
              <a:gd name="connsiteY2" fmla="*/ 804985 h 928141"/>
              <a:gd name="connsiteX3" fmla="*/ 318583 w 952346"/>
              <a:gd name="connsiteY3" fmla="*/ 836247 h 928141"/>
              <a:gd name="connsiteX4" fmla="*/ 109521 w 952346"/>
              <a:gd name="connsiteY4" fmla="*/ 836247 h 928141"/>
              <a:gd name="connsiteX0" fmla="*/ 214052 w 952346"/>
              <a:gd name="connsiteY0" fmla="*/ 820812 h 928141"/>
              <a:gd name="connsiteX1" fmla="*/ 638753 w 952346"/>
              <a:gd name="connsiteY1" fmla="*/ 209062 h 928141"/>
              <a:gd name="connsiteX2" fmla="*/ 534222 w 952346"/>
              <a:gd name="connsiteY2" fmla="*/ 209062 h 928141"/>
              <a:gd name="connsiteX3" fmla="*/ 760640 w 952346"/>
              <a:gd name="connsiteY3" fmla="*/ 0 h 928141"/>
              <a:gd name="connsiteX4" fmla="*/ 952346 w 952346"/>
              <a:gd name="connsiteY4" fmla="*/ 209062 h 928141"/>
              <a:gd name="connsiteX5" fmla="*/ 847815 w 952346"/>
              <a:gd name="connsiteY5" fmla="*/ 209062 h 928141"/>
              <a:gd name="connsiteX6" fmla="*/ 318583 w 952346"/>
              <a:gd name="connsiteY6" fmla="*/ 836247 h 928141"/>
              <a:gd name="connsiteX7" fmla="*/ 109521 w 952346"/>
              <a:gd name="connsiteY7" fmla="*/ 836247 h 928141"/>
              <a:gd name="connsiteX8" fmla="*/ 211610 w 952346"/>
              <a:gd name="connsiteY8" fmla="*/ 836246 h 928141"/>
              <a:gd name="connsiteX9" fmla="*/ 225288 w 952346"/>
              <a:gd name="connsiteY9" fmla="*/ 820615 h 928141"/>
              <a:gd name="connsiteX10" fmla="*/ 318583 w 952346"/>
              <a:gd name="connsiteY10" fmla="*/ 836247 h 928141"/>
              <a:gd name="connsiteX0" fmla="*/ 760640 w 952346"/>
              <a:gd name="connsiteY0" fmla="*/ 0 h 840180"/>
              <a:gd name="connsiteX1" fmla="*/ 952346 w 952346"/>
              <a:gd name="connsiteY1" fmla="*/ 209062 h 840180"/>
              <a:gd name="connsiteX2" fmla="*/ 847815 w 952346"/>
              <a:gd name="connsiteY2" fmla="*/ 209062 h 840180"/>
              <a:gd name="connsiteX3" fmla="*/ 214053 w 952346"/>
              <a:gd name="connsiteY3" fmla="*/ 820812 h 840180"/>
              <a:gd name="connsiteX4" fmla="*/ 638754 w 952346"/>
              <a:gd name="connsiteY4" fmla="*/ 209062 h 840180"/>
              <a:gd name="connsiteX5" fmla="*/ 534222 w 952346"/>
              <a:gd name="connsiteY5" fmla="*/ 209062 h 840180"/>
              <a:gd name="connsiteX6" fmla="*/ 760640 w 952346"/>
              <a:gd name="connsiteY6" fmla="*/ 0 h 840180"/>
              <a:gd name="connsiteX0" fmla="*/ 109521 w 952346"/>
              <a:gd name="connsiteY0" fmla="*/ 836247 h 840180"/>
              <a:gd name="connsiteX1" fmla="*/ 180348 w 952346"/>
              <a:gd name="connsiteY1" fmla="*/ 797169 h 840180"/>
              <a:gd name="connsiteX2" fmla="*/ 201841 w 952346"/>
              <a:gd name="connsiteY2" fmla="*/ 804985 h 840180"/>
              <a:gd name="connsiteX3" fmla="*/ 318583 w 952346"/>
              <a:gd name="connsiteY3" fmla="*/ 836247 h 840180"/>
              <a:gd name="connsiteX4" fmla="*/ 109521 w 952346"/>
              <a:gd name="connsiteY4" fmla="*/ 836247 h 840180"/>
              <a:gd name="connsiteX0" fmla="*/ 214052 w 952346"/>
              <a:gd name="connsiteY0" fmla="*/ 820812 h 840180"/>
              <a:gd name="connsiteX1" fmla="*/ 638753 w 952346"/>
              <a:gd name="connsiteY1" fmla="*/ 209062 h 840180"/>
              <a:gd name="connsiteX2" fmla="*/ 534222 w 952346"/>
              <a:gd name="connsiteY2" fmla="*/ 209062 h 840180"/>
              <a:gd name="connsiteX3" fmla="*/ 760640 w 952346"/>
              <a:gd name="connsiteY3" fmla="*/ 0 h 840180"/>
              <a:gd name="connsiteX4" fmla="*/ 952346 w 952346"/>
              <a:gd name="connsiteY4" fmla="*/ 209062 h 840180"/>
              <a:gd name="connsiteX5" fmla="*/ 847815 w 952346"/>
              <a:gd name="connsiteY5" fmla="*/ 209062 h 840180"/>
              <a:gd name="connsiteX6" fmla="*/ 318583 w 952346"/>
              <a:gd name="connsiteY6" fmla="*/ 836247 h 840180"/>
              <a:gd name="connsiteX7" fmla="*/ 109521 w 952346"/>
              <a:gd name="connsiteY7" fmla="*/ 836247 h 840180"/>
              <a:gd name="connsiteX8" fmla="*/ 211610 w 952346"/>
              <a:gd name="connsiteY8" fmla="*/ 836246 h 840180"/>
              <a:gd name="connsiteX9" fmla="*/ 225288 w 952346"/>
              <a:gd name="connsiteY9" fmla="*/ 820615 h 840180"/>
              <a:gd name="connsiteX10" fmla="*/ 318583 w 952346"/>
              <a:gd name="connsiteY10" fmla="*/ 836247 h 8401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952346" h="840180" stroke="0" extrusionOk="0">
                <a:moveTo>
                  <a:pt x="760640" y="0"/>
                </a:moveTo>
                <a:lnTo>
                  <a:pt x="952346" y="209062"/>
                </a:lnTo>
                <a:lnTo>
                  <a:pt x="847815" y="209062"/>
                </a:lnTo>
                <a:cubicBezTo>
                  <a:pt x="775543" y="637308"/>
                  <a:pt x="497807" y="905397"/>
                  <a:pt x="214053" y="820812"/>
                </a:cubicBezTo>
                <a:cubicBezTo>
                  <a:pt x="420852" y="759167"/>
                  <a:pt x="586082" y="521165"/>
                  <a:pt x="638754" y="209062"/>
                </a:cubicBezTo>
                <a:lnTo>
                  <a:pt x="534222" y="209062"/>
                </a:lnTo>
                <a:lnTo>
                  <a:pt x="760640" y="0"/>
                </a:lnTo>
                <a:close/>
              </a:path>
              <a:path w="952346" h="840180" fill="darkenLess" stroke="0" extrusionOk="0">
                <a:moveTo>
                  <a:pt x="109521" y="836247"/>
                </a:moveTo>
                <a:cubicBezTo>
                  <a:pt x="174972" y="844063"/>
                  <a:pt x="250687" y="836985"/>
                  <a:pt x="180348" y="797169"/>
                </a:cubicBezTo>
                <a:cubicBezTo>
                  <a:pt x="239615" y="828431"/>
                  <a:pt x="205097" y="804985"/>
                  <a:pt x="201841" y="804985"/>
                </a:cubicBezTo>
                <a:cubicBezTo>
                  <a:pt x="233103" y="805723"/>
                  <a:pt x="16711" y="836247"/>
                  <a:pt x="318583" y="836247"/>
                </a:cubicBezTo>
                <a:lnTo>
                  <a:pt x="109521" y="836247"/>
                </a:lnTo>
                <a:close/>
              </a:path>
              <a:path w="952346" h="840180" fill="none" extrusionOk="0">
                <a:moveTo>
                  <a:pt x="214052" y="820812"/>
                </a:moveTo>
                <a:cubicBezTo>
                  <a:pt x="420851" y="759167"/>
                  <a:pt x="586081" y="521165"/>
                  <a:pt x="638753" y="209062"/>
                </a:cubicBezTo>
                <a:lnTo>
                  <a:pt x="534222" y="209062"/>
                </a:lnTo>
                <a:lnTo>
                  <a:pt x="760640" y="0"/>
                </a:lnTo>
                <a:lnTo>
                  <a:pt x="952346" y="209062"/>
                </a:lnTo>
                <a:lnTo>
                  <a:pt x="847815" y="209062"/>
                </a:lnTo>
                <a:cubicBezTo>
                  <a:pt x="785504" y="578280"/>
                  <a:pt x="567827" y="836247"/>
                  <a:pt x="318583" y="836247"/>
                </a:cubicBezTo>
                <a:lnTo>
                  <a:pt x="109521" y="836247"/>
                </a:lnTo>
                <a:cubicBezTo>
                  <a:pt x="-192351" y="836247"/>
                  <a:pt x="227240" y="844800"/>
                  <a:pt x="211610" y="836246"/>
                </a:cubicBezTo>
                <a:cubicBezTo>
                  <a:pt x="229195" y="854482"/>
                  <a:pt x="238964" y="802380"/>
                  <a:pt x="225288" y="820615"/>
                </a:cubicBezTo>
                <a:cubicBezTo>
                  <a:pt x="256549" y="813538"/>
                  <a:pt x="16711" y="836247"/>
                  <a:pt x="318583" y="836247"/>
                </a:cubicBezTo>
              </a:path>
            </a:pathLst>
          </a:cu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7" name="Rounded Rectangle 16"/>
          <p:cNvSpPr/>
          <p:nvPr/>
        </p:nvSpPr>
        <p:spPr>
          <a:xfrm>
            <a:off x="6991830" y="4815375"/>
            <a:ext cx="2222508" cy="496804"/>
          </a:xfrm>
          <a:prstGeom prst="roundRect">
            <a:avLst/>
          </a:prstGeom>
          <a:noFill/>
          <a:ln w="28575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ounded Rectangular Callout 18"/>
          <p:cNvSpPr/>
          <p:nvPr/>
        </p:nvSpPr>
        <p:spPr>
          <a:xfrm>
            <a:off x="9807346" y="4971660"/>
            <a:ext cx="1896504" cy="681038"/>
          </a:xfrm>
          <a:prstGeom prst="wedgeRoundRectCallout">
            <a:avLst>
              <a:gd name="adj1" fmla="val -84858"/>
              <a:gd name="adj2" fmla="val -36547"/>
              <a:gd name="adj3" fmla="val 16667"/>
            </a:avLst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bIns="91440" rtlCol="0" anchor="ctr">
            <a:spAutoFit/>
          </a:bodyPr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Click to  </a:t>
            </a:r>
            <a:r>
              <a:rPr lang="en-US" sz="1400" b="1" dirty="0">
                <a:solidFill>
                  <a:schemeClr val="tx1"/>
                </a:solidFill>
              </a:rPr>
              <a:t>‘Add Bank Account Details’</a:t>
            </a:r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284801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E87EF6E-24A8-4731-BD6E-CDD660D36E1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0119" name="think-cell Slide" r:id="rId5" imgW="396" imgH="396" progId="TCLayout.ActiveDocument.1">
                  <p:embed/>
                </p:oleObj>
              </mc:Choice>
              <mc:Fallback>
                <p:oleObj name="think-cell Slide" r:id="rId5" imgW="396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E87EF6E-24A8-4731-BD6E-CDD660D36E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A4F164E8-043D-4227-9E5F-DD7DEC8BF07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798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Expo"/>
              <a:ea typeface="+mn-ea"/>
              <a:cs typeface="Arial" panose="020B0604020202020204" pitchFamily="34" charset="0"/>
              <a:sym typeface="Expo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plete supplier registration questionnair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n-US" dirty="0"/>
              <a:t>Provide required Bank Account details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E6E6889-CBC8-4C91-9EFE-4D9AE0FB8462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72123" y="1223968"/>
            <a:ext cx="5541108" cy="3563815"/>
          </a:xfrm>
          <a:prstGeom prst="rect">
            <a:avLst/>
          </a:prstGeom>
          <a:effectLst>
            <a:outerShdw blurRad="63500" sx="103000" sy="103000" algn="ctr" rotWithShape="0">
              <a:prstClr val="black">
                <a:alpha val="10000"/>
              </a:prstClr>
            </a:outerShdw>
          </a:effectLst>
        </p:spPr>
      </p:pic>
      <p:sp>
        <p:nvSpPr>
          <p:cNvPr id="18" name="Rounded Rectangular Callout 17"/>
          <p:cNvSpPr/>
          <p:nvPr/>
        </p:nvSpPr>
        <p:spPr>
          <a:xfrm>
            <a:off x="1120547" y="5001793"/>
            <a:ext cx="2021238" cy="919401"/>
          </a:xfrm>
          <a:prstGeom prst="wedgeRoundRectCallout">
            <a:avLst>
              <a:gd name="adj1" fmla="val 30421"/>
              <a:gd name="adj2" fmla="val -92948"/>
              <a:gd name="adj3" fmla="val 16667"/>
            </a:avLst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bIns="91440" rtlCol="0" anchor="ctr">
            <a:spAutoFit/>
          </a:bodyPr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Follow on screen instructions &amp; download bank help 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6180E070-7602-40CB-A8E6-988952252928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90339" y="1223968"/>
            <a:ext cx="3474720" cy="4059752"/>
          </a:xfrm>
          <a:prstGeom prst="rect">
            <a:avLst/>
          </a:prstGeom>
          <a:effectLst>
            <a:outerShdw blurRad="63500" sx="103000" sy="103000" algn="ctr" rotWithShape="0">
              <a:prstClr val="black">
                <a:alpha val="10000"/>
              </a:prstClr>
            </a:outerShdw>
          </a:effectLst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4D8256ED-1BE0-4C44-A7E8-A0FD47D8B87A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90338" y="5283720"/>
            <a:ext cx="5935031" cy="890956"/>
          </a:xfrm>
          <a:prstGeom prst="rect">
            <a:avLst/>
          </a:prstGeom>
          <a:effectLst>
            <a:outerShdw blurRad="63500" sx="103000" sy="103000" algn="ctr" rotWithShape="0">
              <a:prstClr val="black">
                <a:alpha val="10000"/>
              </a:prstClr>
            </a:outerShdw>
          </a:effectLst>
        </p:spPr>
      </p:pic>
      <p:sp>
        <p:nvSpPr>
          <p:cNvPr id="31" name="Rounded Rectangular Callout 30"/>
          <p:cNvSpPr/>
          <p:nvPr/>
        </p:nvSpPr>
        <p:spPr>
          <a:xfrm>
            <a:off x="8683676" y="1467043"/>
            <a:ext cx="2500140" cy="919401"/>
          </a:xfrm>
          <a:prstGeom prst="wedgeRoundRectCallout">
            <a:avLst>
              <a:gd name="adj1" fmla="val -63151"/>
              <a:gd name="adj2" fmla="val -25794"/>
              <a:gd name="adj3" fmla="val 16667"/>
            </a:avLst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bIns="91440" rtlCol="0" anchor="ctr">
            <a:spAutoFit/>
          </a:bodyPr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Please carefully provide your complete Bank account details.</a:t>
            </a:r>
          </a:p>
        </p:txBody>
      </p:sp>
      <p:sp>
        <p:nvSpPr>
          <p:cNvPr id="32" name="Rounded Rectangular Callout 31"/>
          <p:cNvSpPr/>
          <p:nvPr/>
        </p:nvSpPr>
        <p:spPr>
          <a:xfrm>
            <a:off x="8943364" y="3877988"/>
            <a:ext cx="2424506" cy="1157764"/>
          </a:xfrm>
          <a:prstGeom prst="wedgeRoundRectCallout">
            <a:avLst>
              <a:gd name="adj1" fmla="val 21528"/>
              <a:gd name="adj2" fmla="val 92322"/>
              <a:gd name="adj3" fmla="val 16667"/>
            </a:avLst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bIns="91440" rtlCol="0" anchor="ctr">
            <a:spAutoFit/>
          </a:bodyPr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Attach a bank reference letter or bank statement for the bank account you’re adding.</a:t>
            </a:r>
          </a:p>
        </p:txBody>
      </p:sp>
    </p:spTree>
    <p:extLst>
      <p:ext uri="{BB962C8B-B14F-4D97-AF65-F5344CB8AC3E}">
        <p14:creationId xmlns:p14="http://schemas.microsoft.com/office/powerpoint/2010/main" val="386967795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4388259D-C353-49AC-8D2C-F832A3315750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14463" y="3659505"/>
            <a:ext cx="6158523" cy="2548355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E87EF6E-24A8-4731-BD6E-CDD660D36E1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141" name="think-cell Slide" r:id="rId6" imgW="396" imgH="396" progId="TCLayout.ActiveDocument.1">
                  <p:embed/>
                </p:oleObj>
              </mc:Choice>
              <mc:Fallback>
                <p:oleObj name="think-cell Slide" r:id="rId6" imgW="396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E87EF6E-24A8-4731-BD6E-CDD660D36E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A4F164E8-043D-4227-9E5F-DD7DEC8BF07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798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Expo"/>
              <a:ea typeface="+mn-ea"/>
              <a:cs typeface="Arial" panose="020B0604020202020204" pitchFamily="34" charset="0"/>
              <a:sym typeface="Expo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plete supplier registration questionnair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n-US" dirty="0"/>
              <a:t>Submit your questionnair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0B63B07-0E13-48B1-83CE-7D70A016F56F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4684" y="1441463"/>
            <a:ext cx="7091286" cy="1525882"/>
          </a:xfrm>
          <a:prstGeom prst="rect">
            <a:avLst/>
          </a:prstGeom>
          <a:effectLst>
            <a:outerShdw blurRad="63500" sx="103000" sy="103000" algn="ctr" rotWithShape="0">
              <a:prstClr val="black">
                <a:alpha val="10000"/>
              </a:prstClr>
            </a:outerShdw>
          </a:effectLst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0177A34E-7078-4503-B860-2A19878BBF53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41785" y="2133623"/>
            <a:ext cx="2524370" cy="1555263"/>
          </a:xfrm>
          <a:prstGeom prst="rect">
            <a:avLst/>
          </a:prstGeom>
          <a:effectLst>
            <a:outerShdw blurRad="63500" sx="103000" sy="103000" algn="ctr" rotWithShape="0">
              <a:prstClr val="black">
                <a:alpha val="10000"/>
              </a:prstClr>
            </a:outerShdw>
          </a:effectLst>
        </p:spPr>
      </p:pic>
      <p:sp>
        <p:nvSpPr>
          <p:cNvPr id="18" name="Rounded Rectangular Callout 17"/>
          <p:cNvSpPr/>
          <p:nvPr/>
        </p:nvSpPr>
        <p:spPr>
          <a:xfrm>
            <a:off x="5887932" y="2868416"/>
            <a:ext cx="2021238" cy="919401"/>
          </a:xfrm>
          <a:prstGeom prst="wedgeRoundRectCallout">
            <a:avLst>
              <a:gd name="adj1" fmla="val -72431"/>
              <a:gd name="adj2" fmla="val -31744"/>
              <a:gd name="adj3" fmla="val 16667"/>
            </a:avLst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1440" bIns="91440" rtlCol="0" anchor="ctr">
            <a:spAutoFit/>
          </a:bodyPr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Click ‘Save’ and then ‘OK’ to submit your questionnaire</a:t>
            </a:r>
          </a:p>
        </p:txBody>
      </p:sp>
      <p:sp>
        <p:nvSpPr>
          <p:cNvPr id="16" name="Curved Up Arrow 10"/>
          <p:cNvSpPr/>
          <p:nvPr/>
        </p:nvSpPr>
        <p:spPr>
          <a:xfrm rot="4686745">
            <a:off x="4680814" y="3507390"/>
            <a:ext cx="952346" cy="840180"/>
          </a:xfrm>
          <a:custGeom>
            <a:avLst/>
            <a:gdLst>
              <a:gd name="connsiteX0" fmla="*/ 1197707 w 1406769"/>
              <a:gd name="connsiteY0" fmla="*/ 0 h 836247"/>
              <a:gd name="connsiteX1" fmla="*/ 1389413 w 1406769"/>
              <a:gd name="connsiteY1" fmla="*/ 209062 h 836247"/>
              <a:gd name="connsiteX2" fmla="*/ 1284882 w 1406769"/>
              <a:gd name="connsiteY2" fmla="*/ 209062 h 836247"/>
              <a:gd name="connsiteX3" fmla="*/ 651120 w 1406769"/>
              <a:gd name="connsiteY3" fmla="*/ 820812 h 836247"/>
              <a:gd name="connsiteX4" fmla="*/ 1075821 w 1406769"/>
              <a:gd name="connsiteY4" fmla="*/ 209062 h 836247"/>
              <a:gd name="connsiteX5" fmla="*/ 971289 w 1406769"/>
              <a:gd name="connsiteY5" fmla="*/ 209062 h 836247"/>
              <a:gd name="connsiteX6" fmla="*/ 1197707 w 1406769"/>
              <a:gd name="connsiteY6" fmla="*/ 0 h 836247"/>
              <a:gd name="connsiteX0" fmla="*/ 546588 w 1406769"/>
              <a:gd name="connsiteY0" fmla="*/ 836247 h 836247"/>
              <a:gd name="connsiteX1" fmla="*/ 0 w 1406769"/>
              <a:gd name="connsiteY1" fmla="*/ 0 h 836247"/>
              <a:gd name="connsiteX2" fmla="*/ 209062 w 1406769"/>
              <a:gd name="connsiteY2" fmla="*/ 0 h 836247"/>
              <a:gd name="connsiteX3" fmla="*/ 755650 w 1406769"/>
              <a:gd name="connsiteY3" fmla="*/ 836247 h 836247"/>
              <a:gd name="connsiteX4" fmla="*/ 546588 w 1406769"/>
              <a:gd name="connsiteY4" fmla="*/ 836247 h 836247"/>
              <a:gd name="connsiteX0" fmla="*/ 651119 w 1406769"/>
              <a:gd name="connsiteY0" fmla="*/ 820812 h 836247"/>
              <a:gd name="connsiteX1" fmla="*/ 1075820 w 1406769"/>
              <a:gd name="connsiteY1" fmla="*/ 209062 h 836247"/>
              <a:gd name="connsiteX2" fmla="*/ 971289 w 1406769"/>
              <a:gd name="connsiteY2" fmla="*/ 209062 h 836247"/>
              <a:gd name="connsiteX3" fmla="*/ 1197707 w 1406769"/>
              <a:gd name="connsiteY3" fmla="*/ 0 h 836247"/>
              <a:gd name="connsiteX4" fmla="*/ 1389413 w 1406769"/>
              <a:gd name="connsiteY4" fmla="*/ 209062 h 836247"/>
              <a:gd name="connsiteX5" fmla="*/ 1284882 w 1406769"/>
              <a:gd name="connsiteY5" fmla="*/ 209062 h 836247"/>
              <a:gd name="connsiteX6" fmla="*/ 755650 w 1406769"/>
              <a:gd name="connsiteY6" fmla="*/ 836247 h 836247"/>
              <a:gd name="connsiteX7" fmla="*/ 546588 w 1406769"/>
              <a:gd name="connsiteY7" fmla="*/ 836247 h 836247"/>
              <a:gd name="connsiteX8" fmla="*/ 0 w 1406769"/>
              <a:gd name="connsiteY8" fmla="*/ 0 h 836247"/>
              <a:gd name="connsiteX9" fmla="*/ 209062 w 1406769"/>
              <a:gd name="connsiteY9" fmla="*/ 0 h 836247"/>
              <a:gd name="connsiteX10" fmla="*/ 755650 w 1406769"/>
              <a:gd name="connsiteY10" fmla="*/ 836247 h 836247"/>
              <a:gd name="connsiteX0" fmla="*/ 1197707 w 1389413"/>
              <a:gd name="connsiteY0" fmla="*/ 0 h 836376"/>
              <a:gd name="connsiteX1" fmla="*/ 1389413 w 1389413"/>
              <a:gd name="connsiteY1" fmla="*/ 209062 h 836376"/>
              <a:gd name="connsiteX2" fmla="*/ 1284882 w 1389413"/>
              <a:gd name="connsiteY2" fmla="*/ 209062 h 836376"/>
              <a:gd name="connsiteX3" fmla="*/ 651120 w 1389413"/>
              <a:gd name="connsiteY3" fmla="*/ 820812 h 836376"/>
              <a:gd name="connsiteX4" fmla="*/ 1075821 w 1389413"/>
              <a:gd name="connsiteY4" fmla="*/ 209062 h 836376"/>
              <a:gd name="connsiteX5" fmla="*/ 971289 w 1389413"/>
              <a:gd name="connsiteY5" fmla="*/ 209062 h 836376"/>
              <a:gd name="connsiteX6" fmla="*/ 1197707 w 1389413"/>
              <a:gd name="connsiteY6" fmla="*/ 0 h 836376"/>
              <a:gd name="connsiteX0" fmla="*/ 546588 w 1389413"/>
              <a:gd name="connsiteY0" fmla="*/ 836247 h 836376"/>
              <a:gd name="connsiteX1" fmla="*/ 0 w 1389413"/>
              <a:gd name="connsiteY1" fmla="*/ 0 h 836376"/>
              <a:gd name="connsiteX2" fmla="*/ 209062 w 1389413"/>
              <a:gd name="connsiteY2" fmla="*/ 0 h 836376"/>
              <a:gd name="connsiteX3" fmla="*/ 755650 w 1389413"/>
              <a:gd name="connsiteY3" fmla="*/ 836247 h 836376"/>
              <a:gd name="connsiteX4" fmla="*/ 546588 w 1389413"/>
              <a:gd name="connsiteY4" fmla="*/ 836247 h 836376"/>
              <a:gd name="connsiteX0" fmla="*/ 651119 w 1389413"/>
              <a:gd name="connsiteY0" fmla="*/ 820812 h 836376"/>
              <a:gd name="connsiteX1" fmla="*/ 1075820 w 1389413"/>
              <a:gd name="connsiteY1" fmla="*/ 209062 h 836376"/>
              <a:gd name="connsiteX2" fmla="*/ 971289 w 1389413"/>
              <a:gd name="connsiteY2" fmla="*/ 209062 h 836376"/>
              <a:gd name="connsiteX3" fmla="*/ 1197707 w 1389413"/>
              <a:gd name="connsiteY3" fmla="*/ 0 h 836376"/>
              <a:gd name="connsiteX4" fmla="*/ 1389413 w 1389413"/>
              <a:gd name="connsiteY4" fmla="*/ 209062 h 836376"/>
              <a:gd name="connsiteX5" fmla="*/ 1284882 w 1389413"/>
              <a:gd name="connsiteY5" fmla="*/ 209062 h 836376"/>
              <a:gd name="connsiteX6" fmla="*/ 755650 w 1389413"/>
              <a:gd name="connsiteY6" fmla="*/ 836247 h 836376"/>
              <a:gd name="connsiteX7" fmla="*/ 546588 w 1389413"/>
              <a:gd name="connsiteY7" fmla="*/ 836247 h 836376"/>
              <a:gd name="connsiteX8" fmla="*/ 0 w 1389413"/>
              <a:gd name="connsiteY8" fmla="*/ 0 h 836376"/>
              <a:gd name="connsiteX9" fmla="*/ 209062 w 1389413"/>
              <a:gd name="connsiteY9" fmla="*/ 0 h 836376"/>
              <a:gd name="connsiteX10" fmla="*/ 755650 w 1389413"/>
              <a:gd name="connsiteY10" fmla="*/ 836247 h 836376"/>
              <a:gd name="connsiteX0" fmla="*/ 1197707 w 1389413"/>
              <a:gd name="connsiteY0" fmla="*/ 0 h 1041511"/>
              <a:gd name="connsiteX1" fmla="*/ 1389413 w 1389413"/>
              <a:gd name="connsiteY1" fmla="*/ 209062 h 1041511"/>
              <a:gd name="connsiteX2" fmla="*/ 1284882 w 1389413"/>
              <a:gd name="connsiteY2" fmla="*/ 209062 h 1041511"/>
              <a:gd name="connsiteX3" fmla="*/ 651120 w 1389413"/>
              <a:gd name="connsiteY3" fmla="*/ 820812 h 1041511"/>
              <a:gd name="connsiteX4" fmla="*/ 1075821 w 1389413"/>
              <a:gd name="connsiteY4" fmla="*/ 209062 h 1041511"/>
              <a:gd name="connsiteX5" fmla="*/ 971289 w 1389413"/>
              <a:gd name="connsiteY5" fmla="*/ 209062 h 1041511"/>
              <a:gd name="connsiteX6" fmla="*/ 1197707 w 1389413"/>
              <a:gd name="connsiteY6" fmla="*/ 0 h 1041511"/>
              <a:gd name="connsiteX0" fmla="*/ 546588 w 1389413"/>
              <a:gd name="connsiteY0" fmla="*/ 836247 h 1041511"/>
              <a:gd name="connsiteX1" fmla="*/ 0 w 1389413"/>
              <a:gd name="connsiteY1" fmla="*/ 0 h 1041511"/>
              <a:gd name="connsiteX2" fmla="*/ 209062 w 1389413"/>
              <a:gd name="connsiteY2" fmla="*/ 0 h 1041511"/>
              <a:gd name="connsiteX3" fmla="*/ 755650 w 1389413"/>
              <a:gd name="connsiteY3" fmla="*/ 836247 h 1041511"/>
              <a:gd name="connsiteX4" fmla="*/ 546588 w 1389413"/>
              <a:gd name="connsiteY4" fmla="*/ 836247 h 1041511"/>
              <a:gd name="connsiteX0" fmla="*/ 651119 w 1389413"/>
              <a:gd name="connsiteY0" fmla="*/ 820812 h 1041511"/>
              <a:gd name="connsiteX1" fmla="*/ 1075820 w 1389413"/>
              <a:gd name="connsiteY1" fmla="*/ 209062 h 1041511"/>
              <a:gd name="connsiteX2" fmla="*/ 971289 w 1389413"/>
              <a:gd name="connsiteY2" fmla="*/ 209062 h 1041511"/>
              <a:gd name="connsiteX3" fmla="*/ 1197707 w 1389413"/>
              <a:gd name="connsiteY3" fmla="*/ 0 h 1041511"/>
              <a:gd name="connsiteX4" fmla="*/ 1389413 w 1389413"/>
              <a:gd name="connsiteY4" fmla="*/ 209062 h 1041511"/>
              <a:gd name="connsiteX5" fmla="*/ 1284882 w 1389413"/>
              <a:gd name="connsiteY5" fmla="*/ 209062 h 1041511"/>
              <a:gd name="connsiteX6" fmla="*/ 755650 w 1389413"/>
              <a:gd name="connsiteY6" fmla="*/ 836247 h 1041511"/>
              <a:gd name="connsiteX7" fmla="*/ 546588 w 1389413"/>
              <a:gd name="connsiteY7" fmla="*/ 836247 h 1041511"/>
              <a:gd name="connsiteX8" fmla="*/ 648677 w 1389413"/>
              <a:gd name="connsiteY8" fmla="*/ 836246 h 1041511"/>
              <a:gd name="connsiteX9" fmla="*/ 209062 w 1389413"/>
              <a:gd name="connsiteY9" fmla="*/ 0 h 1041511"/>
              <a:gd name="connsiteX10" fmla="*/ 755650 w 1389413"/>
              <a:gd name="connsiteY10" fmla="*/ 836247 h 1041511"/>
              <a:gd name="connsiteX0" fmla="*/ 1197707 w 1389413"/>
              <a:gd name="connsiteY0" fmla="*/ 0 h 840048"/>
              <a:gd name="connsiteX1" fmla="*/ 1389413 w 1389413"/>
              <a:gd name="connsiteY1" fmla="*/ 209062 h 840048"/>
              <a:gd name="connsiteX2" fmla="*/ 1284882 w 1389413"/>
              <a:gd name="connsiteY2" fmla="*/ 209062 h 840048"/>
              <a:gd name="connsiteX3" fmla="*/ 651120 w 1389413"/>
              <a:gd name="connsiteY3" fmla="*/ 820812 h 840048"/>
              <a:gd name="connsiteX4" fmla="*/ 1075821 w 1389413"/>
              <a:gd name="connsiteY4" fmla="*/ 209062 h 840048"/>
              <a:gd name="connsiteX5" fmla="*/ 971289 w 1389413"/>
              <a:gd name="connsiteY5" fmla="*/ 209062 h 840048"/>
              <a:gd name="connsiteX6" fmla="*/ 1197707 w 1389413"/>
              <a:gd name="connsiteY6" fmla="*/ 0 h 840048"/>
              <a:gd name="connsiteX0" fmla="*/ 546588 w 1389413"/>
              <a:gd name="connsiteY0" fmla="*/ 836247 h 840048"/>
              <a:gd name="connsiteX1" fmla="*/ 0 w 1389413"/>
              <a:gd name="connsiteY1" fmla="*/ 0 h 840048"/>
              <a:gd name="connsiteX2" fmla="*/ 209062 w 1389413"/>
              <a:gd name="connsiteY2" fmla="*/ 0 h 840048"/>
              <a:gd name="connsiteX3" fmla="*/ 755650 w 1389413"/>
              <a:gd name="connsiteY3" fmla="*/ 836247 h 840048"/>
              <a:gd name="connsiteX4" fmla="*/ 546588 w 1389413"/>
              <a:gd name="connsiteY4" fmla="*/ 836247 h 840048"/>
              <a:gd name="connsiteX0" fmla="*/ 651119 w 1389413"/>
              <a:gd name="connsiteY0" fmla="*/ 820812 h 840048"/>
              <a:gd name="connsiteX1" fmla="*/ 1075820 w 1389413"/>
              <a:gd name="connsiteY1" fmla="*/ 209062 h 840048"/>
              <a:gd name="connsiteX2" fmla="*/ 971289 w 1389413"/>
              <a:gd name="connsiteY2" fmla="*/ 209062 h 840048"/>
              <a:gd name="connsiteX3" fmla="*/ 1197707 w 1389413"/>
              <a:gd name="connsiteY3" fmla="*/ 0 h 840048"/>
              <a:gd name="connsiteX4" fmla="*/ 1389413 w 1389413"/>
              <a:gd name="connsiteY4" fmla="*/ 209062 h 840048"/>
              <a:gd name="connsiteX5" fmla="*/ 1284882 w 1389413"/>
              <a:gd name="connsiteY5" fmla="*/ 209062 h 840048"/>
              <a:gd name="connsiteX6" fmla="*/ 755650 w 1389413"/>
              <a:gd name="connsiteY6" fmla="*/ 836247 h 840048"/>
              <a:gd name="connsiteX7" fmla="*/ 546588 w 1389413"/>
              <a:gd name="connsiteY7" fmla="*/ 836247 h 840048"/>
              <a:gd name="connsiteX8" fmla="*/ 648677 w 1389413"/>
              <a:gd name="connsiteY8" fmla="*/ 836246 h 840048"/>
              <a:gd name="connsiteX9" fmla="*/ 209062 w 1389413"/>
              <a:gd name="connsiteY9" fmla="*/ 0 h 840048"/>
              <a:gd name="connsiteX10" fmla="*/ 755650 w 1389413"/>
              <a:gd name="connsiteY10" fmla="*/ 836247 h 840048"/>
              <a:gd name="connsiteX0" fmla="*/ 1197707 w 1389413"/>
              <a:gd name="connsiteY0" fmla="*/ 0 h 840048"/>
              <a:gd name="connsiteX1" fmla="*/ 1389413 w 1389413"/>
              <a:gd name="connsiteY1" fmla="*/ 209062 h 840048"/>
              <a:gd name="connsiteX2" fmla="*/ 1284882 w 1389413"/>
              <a:gd name="connsiteY2" fmla="*/ 209062 h 840048"/>
              <a:gd name="connsiteX3" fmla="*/ 651120 w 1389413"/>
              <a:gd name="connsiteY3" fmla="*/ 820812 h 840048"/>
              <a:gd name="connsiteX4" fmla="*/ 1075821 w 1389413"/>
              <a:gd name="connsiteY4" fmla="*/ 209062 h 840048"/>
              <a:gd name="connsiteX5" fmla="*/ 971289 w 1389413"/>
              <a:gd name="connsiteY5" fmla="*/ 209062 h 840048"/>
              <a:gd name="connsiteX6" fmla="*/ 1197707 w 1389413"/>
              <a:gd name="connsiteY6" fmla="*/ 0 h 840048"/>
              <a:gd name="connsiteX0" fmla="*/ 546588 w 1389413"/>
              <a:gd name="connsiteY0" fmla="*/ 836247 h 840048"/>
              <a:gd name="connsiteX1" fmla="*/ 0 w 1389413"/>
              <a:gd name="connsiteY1" fmla="*/ 0 h 840048"/>
              <a:gd name="connsiteX2" fmla="*/ 209062 w 1389413"/>
              <a:gd name="connsiteY2" fmla="*/ 0 h 840048"/>
              <a:gd name="connsiteX3" fmla="*/ 755650 w 1389413"/>
              <a:gd name="connsiteY3" fmla="*/ 836247 h 840048"/>
              <a:gd name="connsiteX4" fmla="*/ 546588 w 1389413"/>
              <a:gd name="connsiteY4" fmla="*/ 836247 h 840048"/>
              <a:gd name="connsiteX0" fmla="*/ 651119 w 1389413"/>
              <a:gd name="connsiteY0" fmla="*/ 820812 h 840048"/>
              <a:gd name="connsiteX1" fmla="*/ 1075820 w 1389413"/>
              <a:gd name="connsiteY1" fmla="*/ 209062 h 840048"/>
              <a:gd name="connsiteX2" fmla="*/ 971289 w 1389413"/>
              <a:gd name="connsiteY2" fmla="*/ 209062 h 840048"/>
              <a:gd name="connsiteX3" fmla="*/ 1197707 w 1389413"/>
              <a:gd name="connsiteY3" fmla="*/ 0 h 840048"/>
              <a:gd name="connsiteX4" fmla="*/ 1389413 w 1389413"/>
              <a:gd name="connsiteY4" fmla="*/ 209062 h 840048"/>
              <a:gd name="connsiteX5" fmla="*/ 1284882 w 1389413"/>
              <a:gd name="connsiteY5" fmla="*/ 209062 h 840048"/>
              <a:gd name="connsiteX6" fmla="*/ 755650 w 1389413"/>
              <a:gd name="connsiteY6" fmla="*/ 836247 h 840048"/>
              <a:gd name="connsiteX7" fmla="*/ 546588 w 1389413"/>
              <a:gd name="connsiteY7" fmla="*/ 836247 h 840048"/>
              <a:gd name="connsiteX8" fmla="*/ 648677 w 1389413"/>
              <a:gd name="connsiteY8" fmla="*/ 836246 h 840048"/>
              <a:gd name="connsiteX9" fmla="*/ 209062 w 1389413"/>
              <a:gd name="connsiteY9" fmla="*/ 0 h 840048"/>
              <a:gd name="connsiteX10" fmla="*/ 755650 w 1389413"/>
              <a:gd name="connsiteY10" fmla="*/ 836247 h 840048"/>
              <a:gd name="connsiteX0" fmla="*/ 988645 w 1180351"/>
              <a:gd name="connsiteY0" fmla="*/ 0 h 1014983"/>
              <a:gd name="connsiteX1" fmla="*/ 1180351 w 1180351"/>
              <a:gd name="connsiteY1" fmla="*/ 209062 h 1014983"/>
              <a:gd name="connsiteX2" fmla="*/ 1075820 w 1180351"/>
              <a:gd name="connsiteY2" fmla="*/ 209062 h 1014983"/>
              <a:gd name="connsiteX3" fmla="*/ 442058 w 1180351"/>
              <a:gd name="connsiteY3" fmla="*/ 820812 h 1014983"/>
              <a:gd name="connsiteX4" fmla="*/ 866759 w 1180351"/>
              <a:gd name="connsiteY4" fmla="*/ 209062 h 1014983"/>
              <a:gd name="connsiteX5" fmla="*/ 762227 w 1180351"/>
              <a:gd name="connsiteY5" fmla="*/ 209062 h 1014983"/>
              <a:gd name="connsiteX6" fmla="*/ 988645 w 1180351"/>
              <a:gd name="connsiteY6" fmla="*/ 0 h 1014983"/>
              <a:gd name="connsiteX0" fmla="*/ 337526 w 1180351"/>
              <a:gd name="connsiteY0" fmla="*/ 836247 h 1014983"/>
              <a:gd name="connsiteX1" fmla="*/ 408353 w 1180351"/>
              <a:gd name="connsiteY1" fmla="*/ 797169 h 1014983"/>
              <a:gd name="connsiteX2" fmla="*/ 0 w 1180351"/>
              <a:gd name="connsiteY2" fmla="*/ 0 h 1014983"/>
              <a:gd name="connsiteX3" fmla="*/ 546588 w 1180351"/>
              <a:gd name="connsiteY3" fmla="*/ 836247 h 1014983"/>
              <a:gd name="connsiteX4" fmla="*/ 337526 w 1180351"/>
              <a:gd name="connsiteY4" fmla="*/ 836247 h 1014983"/>
              <a:gd name="connsiteX0" fmla="*/ 442057 w 1180351"/>
              <a:gd name="connsiteY0" fmla="*/ 820812 h 1014983"/>
              <a:gd name="connsiteX1" fmla="*/ 866758 w 1180351"/>
              <a:gd name="connsiteY1" fmla="*/ 209062 h 1014983"/>
              <a:gd name="connsiteX2" fmla="*/ 762227 w 1180351"/>
              <a:gd name="connsiteY2" fmla="*/ 209062 h 1014983"/>
              <a:gd name="connsiteX3" fmla="*/ 988645 w 1180351"/>
              <a:gd name="connsiteY3" fmla="*/ 0 h 1014983"/>
              <a:gd name="connsiteX4" fmla="*/ 1180351 w 1180351"/>
              <a:gd name="connsiteY4" fmla="*/ 209062 h 1014983"/>
              <a:gd name="connsiteX5" fmla="*/ 1075820 w 1180351"/>
              <a:gd name="connsiteY5" fmla="*/ 209062 h 1014983"/>
              <a:gd name="connsiteX6" fmla="*/ 546588 w 1180351"/>
              <a:gd name="connsiteY6" fmla="*/ 836247 h 1014983"/>
              <a:gd name="connsiteX7" fmla="*/ 337526 w 1180351"/>
              <a:gd name="connsiteY7" fmla="*/ 836247 h 1014983"/>
              <a:gd name="connsiteX8" fmla="*/ 439615 w 1180351"/>
              <a:gd name="connsiteY8" fmla="*/ 836246 h 1014983"/>
              <a:gd name="connsiteX9" fmla="*/ 0 w 1180351"/>
              <a:gd name="connsiteY9" fmla="*/ 0 h 1014983"/>
              <a:gd name="connsiteX10" fmla="*/ 546588 w 1180351"/>
              <a:gd name="connsiteY10" fmla="*/ 836247 h 1014983"/>
              <a:gd name="connsiteX0" fmla="*/ 988645 w 1180351"/>
              <a:gd name="connsiteY0" fmla="*/ 0 h 840048"/>
              <a:gd name="connsiteX1" fmla="*/ 1180351 w 1180351"/>
              <a:gd name="connsiteY1" fmla="*/ 209062 h 840048"/>
              <a:gd name="connsiteX2" fmla="*/ 1075820 w 1180351"/>
              <a:gd name="connsiteY2" fmla="*/ 209062 h 840048"/>
              <a:gd name="connsiteX3" fmla="*/ 442058 w 1180351"/>
              <a:gd name="connsiteY3" fmla="*/ 820812 h 840048"/>
              <a:gd name="connsiteX4" fmla="*/ 866759 w 1180351"/>
              <a:gd name="connsiteY4" fmla="*/ 209062 h 840048"/>
              <a:gd name="connsiteX5" fmla="*/ 762227 w 1180351"/>
              <a:gd name="connsiteY5" fmla="*/ 209062 h 840048"/>
              <a:gd name="connsiteX6" fmla="*/ 988645 w 1180351"/>
              <a:gd name="connsiteY6" fmla="*/ 0 h 840048"/>
              <a:gd name="connsiteX0" fmla="*/ 337526 w 1180351"/>
              <a:gd name="connsiteY0" fmla="*/ 836247 h 840048"/>
              <a:gd name="connsiteX1" fmla="*/ 408353 w 1180351"/>
              <a:gd name="connsiteY1" fmla="*/ 797169 h 840048"/>
              <a:gd name="connsiteX2" fmla="*/ 0 w 1180351"/>
              <a:gd name="connsiteY2" fmla="*/ 0 h 840048"/>
              <a:gd name="connsiteX3" fmla="*/ 546588 w 1180351"/>
              <a:gd name="connsiteY3" fmla="*/ 836247 h 840048"/>
              <a:gd name="connsiteX4" fmla="*/ 337526 w 1180351"/>
              <a:gd name="connsiteY4" fmla="*/ 836247 h 840048"/>
              <a:gd name="connsiteX0" fmla="*/ 442057 w 1180351"/>
              <a:gd name="connsiteY0" fmla="*/ 820812 h 840048"/>
              <a:gd name="connsiteX1" fmla="*/ 866758 w 1180351"/>
              <a:gd name="connsiteY1" fmla="*/ 209062 h 840048"/>
              <a:gd name="connsiteX2" fmla="*/ 762227 w 1180351"/>
              <a:gd name="connsiteY2" fmla="*/ 209062 h 840048"/>
              <a:gd name="connsiteX3" fmla="*/ 988645 w 1180351"/>
              <a:gd name="connsiteY3" fmla="*/ 0 h 840048"/>
              <a:gd name="connsiteX4" fmla="*/ 1180351 w 1180351"/>
              <a:gd name="connsiteY4" fmla="*/ 209062 h 840048"/>
              <a:gd name="connsiteX5" fmla="*/ 1075820 w 1180351"/>
              <a:gd name="connsiteY5" fmla="*/ 209062 h 840048"/>
              <a:gd name="connsiteX6" fmla="*/ 546588 w 1180351"/>
              <a:gd name="connsiteY6" fmla="*/ 836247 h 840048"/>
              <a:gd name="connsiteX7" fmla="*/ 337526 w 1180351"/>
              <a:gd name="connsiteY7" fmla="*/ 836247 h 840048"/>
              <a:gd name="connsiteX8" fmla="*/ 439615 w 1180351"/>
              <a:gd name="connsiteY8" fmla="*/ 836246 h 840048"/>
              <a:gd name="connsiteX9" fmla="*/ 0 w 1180351"/>
              <a:gd name="connsiteY9" fmla="*/ 0 h 840048"/>
              <a:gd name="connsiteX10" fmla="*/ 546588 w 1180351"/>
              <a:gd name="connsiteY10" fmla="*/ 836247 h 840048"/>
              <a:gd name="connsiteX0" fmla="*/ 988645 w 1180351"/>
              <a:gd name="connsiteY0" fmla="*/ 0 h 840048"/>
              <a:gd name="connsiteX1" fmla="*/ 1180351 w 1180351"/>
              <a:gd name="connsiteY1" fmla="*/ 209062 h 840048"/>
              <a:gd name="connsiteX2" fmla="*/ 1075820 w 1180351"/>
              <a:gd name="connsiteY2" fmla="*/ 209062 h 840048"/>
              <a:gd name="connsiteX3" fmla="*/ 442058 w 1180351"/>
              <a:gd name="connsiteY3" fmla="*/ 820812 h 840048"/>
              <a:gd name="connsiteX4" fmla="*/ 866759 w 1180351"/>
              <a:gd name="connsiteY4" fmla="*/ 209062 h 840048"/>
              <a:gd name="connsiteX5" fmla="*/ 762227 w 1180351"/>
              <a:gd name="connsiteY5" fmla="*/ 209062 h 840048"/>
              <a:gd name="connsiteX6" fmla="*/ 988645 w 1180351"/>
              <a:gd name="connsiteY6" fmla="*/ 0 h 840048"/>
              <a:gd name="connsiteX0" fmla="*/ 337526 w 1180351"/>
              <a:gd name="connsiteY0" fmla="*/ 836247 h 840048"/>
              <a:gd name="connsiteX1" fmla="*/ 408353 w 1180351"/>
              <a:gd name="connsiteY1" fmla="*/ 797169 h 840048"/>
              <a:gd name="connsiteX2" fmla="*/ 0 w 1180351"/>
              <a:gd name="connsiteY2" fmla="*/ 0 h 840048"/>
              <a:gd name="connsiteX3" fmla="*/ 546588 w 1180351"/>
              <a:gd name="connsiteY3" fmla="*/ 836247 h 840048"/>
              <a:gd name="connsiteX4" fmla="*/ 337526 w 1180351"/>
              <a:gd name="connsiteY4" fmla="*/ 836247 h 840048"/>
              <a:gd name="connsiteX0" fmla="*/ 442057 w 1180351"/>
              <a:gd name="connsiteY0" fmla="*/ 820812 h 840048"/>
              <a:gd name="connsiteX1" fmla="*/ 866758 w 1180351"/>
              <a:gd name="connsiteY1" fmla="*/ 209062 h 840048"/>
              <a:gd name="connsiteX2" fmla="*/ 762227 w 1180351"/>
              <a:gd name="connsiteY2" fmla="*/ 209062 h 840048"/>
              <a:gd name="connsiteX3" fmla="*/ 988645 w 1180351"/>
              <a:gd name="connsiteY3" fmla="*/ 0 h 840048"/>
              <a:gd name="connsiteX4" fmla="*/ 1180351 w 1180351"/>
              <a:gd name="connsiteY4" fmla="*/ 209062 h 840048"/>
              <a:gd name="connsiteX5" fmla="*/ 1075820 w 1180351"/>
              <a:gd name="connsiteY5" fmla="*/ 209062 h 840048"/>
              <a:gd name="connsiteX6" fmla="*/ 546588 w 1180351"/>
              <a:gd name="connsiteY6" fmla="*/ 836247 h 840048"/>
              <a:gd name="connsiteX7" fmla="*/ 337526 w 1180351"/>
              <a:gd name="connsiteY7" fmla="*/ 836247 h 840048"/>
              <a:gd name="connsiteX8" fmla="*/ 439615 w 1180351"/>
              <a:gd name="connsiteY8" fmla="*/ 836246 h 840048"/>
              <a:gd name="connsiteX9" fmla="*/ 0 w 1180351"/>
              <a:gd name="connsiteY9" fmla="*/ 0 h 840048"/>
              <a:gd name="connsiteX10" fmla="*/ 546588 w 1180351"/>
              <a:gd name="connsiteY10" fmla="*/ 836247 h 840048"/>
              <a:gd name="connsiteX0" fmla="*/ 988645 w 1180351"/>
              <a:gd name="connsiteY0" fmla="*/ 0 h 1030012"/>
              <a:gd name="connsiteX1" fmla="*/ 1180351 w 1180351"/>
              <a:gd name="connsiteY1" fmla="*/ 209062 h 1030012"/>
              <a:gd name="connsiteX2" fmla="*/ 1075820 w 1180351"/>
              <a:gd name="connsiteY2" fmla="*/ 209062 h 1030012"/>
              <a:gd name="connsiteX3" fmla="*/ 442058 w 1180351"/>
              <a:gd name="connsiteY3" fmla="*/ 820812 h 1030012"/>
              <a:gd name="connsiteX4" fmla="*/ 866759 w 1180351"/>
              <a:gd name="connsiteY4" fmla="*/ 209062 h 1030012"/>
              <a:gd name="connsiteX5" fmla="*/ 762227 w 1180351"/>
              <a:gd name="connsiteY5" fmla="*/ 209062 h 1030012"/>
              <a:gd name="connsiteX6" fmla="*/ 988645 w 1180351"/>
              <a:gd name="connsiteY6" fmla="*/ 0 h 1030012"/>
              <a:gd name="connsiteX0" fmla="*/ 337526 w 1180351"/>
              <a:gd name="connsiteY0" fmla="*/ 836247 h 1030012"/>
              <a:gd name="connsiteX1" fmla="*/ 408353 w 1180351"/>
              <a:gd name="connsiteY1" fmla="*/ 797169 h 1030012"/>
              <a:gd name="connsiteX2" fmla="*/ 0 w 1180351"/>
              <a:gd name="connsiteY2" fmla="*/ 0 h 1030012"/>
              <a:gd name="connsiteX3" fmla="*/ 546588 w 1180351"/>
              <a:gd name="connsiteY3" fmla="*/ 836247 h 1030012"/>
              <a:gd name="connsiteX4" fmla="*/ 337526 w 1180351"/>
              <a:gd name="connsiteY4" fmla="*/ 836247 h 1030012"/>
              <a:gd name="connsiteX0" fmla="*/ 442057 w 1180351"/>
              <a:gd name="connsiteY0" fmla="*/ 820812 h 1030012"/>
              <a:gd name="connsiteX1" fmla="*/ 866758 w 1180351"/>
              <a:gd name="connsiteY1" fmla="*/ 209062 h 1030012"/>
              <a:gd name="connsiteX2" fmla="*/ 762227 w 1180351"/>
              <a:gd name="connsiteY2" fmla="*/ 209062 h 1030012"/>
              <a:gd name="connsiteX3" fmla="*/ 988645 w 1180351"/>
              <a:gd name="connsiteY3" fmla="*/ 0 h 1030012"/>
              <a:gd name="connsiteX4" fmla="*/ 1180351 w 1180351"/>
              <a:gd name="connsiteY4" fmla="*/ 209062 h 1030012"/>
              <a:gd name="connsiteX5" fmla="*/ 1075820 w 1180351"/>
              <a:gd name="connsiteY5" fmla="*/ 209062 h 1030012"/>
              <a:gd name="connsiteX6" fmla="*/ 546588 w 1180351"/>
              <a:gd name="connsiteY6" fmla="*/ 836247 h 1030012"/>
              <a:gd name="connsiteX7" fmla="*/ 337526 w 1180351"/>
              <a:gd name="connsiteY7" fmla="*/ 836247 h 1030012"/>
              <a:gd name="connsiteX8" fmla="*/ 439615 w 1180351"/>
              <a:gd name="connsiteY8" fmla="*/ 836246 h 1030012"/>
              <a:gd name="connsiteX9" fmla="*/ 453293 w 1180351"/>
              <a:gd name="connsiteY9" fmla="*/ 820615 h 1030012"/>
              <a:gd name="connsiteX10" fmla="*/ 546588 w 1180351"/>
              <a:gd name="connsiteY10" fmla="*/ 836247 h 1030012"/>
              <a:gd name="connsiteX0" fmla="*/ 988645 w 1180351"/>
              <a:gd name="connsiteY0" fmla="*/ 0 h 1030012"/>
              <a:gd name="connsiteX1" fmla="*/ 1180351 w 1180351"/>
              <a:gd name="connsiteY1" fmla="*/ 209062 h 1030012"/>
              <a:gd name="connsiteX2" fmla="*/ 1075820 w 1180351"/>
              <a:gd name="connsiteY2" fmla="*/ 209062 h 1030012"/>
              <a:gd name="connsiteX3" fmla="*/ 442058 w 1180351"/>
              <a:gd name="connsiteY3" fmla="*/ 820812 h 1030012"/>
              <a:gd name="connsiteX4" fmla="*/ 866759 w 1180351"/>
              <a:gd name="connsiteY4" fmla="*/ 209062 h 1030012"/>
              <a:gd name="connsiteX5" fmla="*/ 762227 w 1180351"/>
              <a:gd name="connsiteY5" fmla="*/ 209062 h 1030012"/>
              <a:gd name="connsiteX6" fmla="*/ 988645 w 1180351"/>
              <a:gd name="connsiteY6" fmla="*/ 0 h 1030012"/>
              <a:gd name="connsiteX0" fmla="*/ 337526 w 1180351"/>
              <a:gd name="connsiteY0" fmla="*/ 836247 h 1030012"/>
              <a:gd name="connsiteX1" fmla="*/ 408353 w 1180351"/>
              <a:gd name="connsiteY1" fmla="*/ 797169 h 1030012"/>
              <a:gd name="connsiteX2" fmla="*/ 0 w 1180351"/>
              <a:gd name="connsiteY2" fmla="*/ 0 h 1030012"/>
              <a:gd name="connsiteX3" fmla="*/ 546588 w 1180351"/>
              <a:gd name="connsiteY3" fmla="*/ 836247 h 1030012"/>
              <a:gd name="connsiteX4" fmla="*/ 337526 w 1180351"/>
              <a:gd name="connsiteY4" fmla="*/ 836247 h 1030012"/>
              <a:gd name="connsiteX0" fmla="*/ 442057 w 1180351"/>
              <a:gd name="connsiteY0" fmla="*/ 820812 h 1030012"/>
              <a:gd name="connsiteX1" fmla="*/ 866758 w 1180351"/>
              <a:gd name="connsiteY1" fmla="*/ 209062 h 1030012"/>
              <a:gd name="connsiteX2" fmla="*/ 762227 w 1180351"/>
              <a:gd name="connsiteY2" fmla="*/ 209062 h 1030012"/>
              <a:gd name="connsiteX3" fmla="*/ 988645 w 1180351"/>
              <a:gd name="connsiteY3" fmla="*/ 0 h 1030012"/>
              <a:gd name="connsiteX4" fmla="*/ 1180351 w 1180351"/>
              <a:gd name="connsiteY4" fmla="*/ 209062 h 1030012"/>
              <a:gd name="connsiteX5" fmla="*/ 1075820 w 1180351"/>
              <a:gd name="connsiteY5" fmla="*/ 209062 h 1030012"/>
              <a:gd name="connsiteX6" fmla="*/ 546588 w 1180351"/>
              <a:gd name="connsiteY6" fmla="*/ 836247 h 1030012"/>
              <a:gd name="connsiteX7" fmla="*/ 337526 w 1180351"/>
              <a:gd name="connsiteY7" fmla="*/ 836247 h 1030012"/>
              <a:gd name="connsiteX8" fmla="*/ 439615 w 1180351"/>
              <a:gd name="connsiteY8" fmla="*/ 836246 h 1030012"/>
              <a:gd name="connsiteX9" fmla="*/ 453293 w 1180351"/>
              <a:gd name="connsiteY9" fmla="*/ 820615 h 1030012"/>
              <a:gd name="connsiteX10" fmla="*/ 546588 w 1180351"/>
              <a:gd name="connsiteY10" fmla="*/ 836247 h 1030012"/>
              <a:gd name="connsiteX0" fmla="*/ 988645 w 1180351"/>
              <a:gd name="connsiteY0" fmla="*/ 0 h 840180"/>
              <a:gd name="connsiteX1" fmla="*/ 1180351 w 1180351"/>
              <a:gd name="connsiteY1" fmla="*/ 209062 h 840180"/>
              <a:gd name="connsiteX2" fmla="*/ 1075820 w 1180351"/>
              <a:gd name="connsiteY2" fmla="*/ 209062 h 840180"/>
              <a:gd name="connsiteX3" fmla="*/ 442058 w 1180351"/>
              <a:gd name="connsiteY3" fmla="*/ 820812 h 840180"/>
              <a:gd name="connsiteX4" fmla="*/ 866759 w 1180351"/>
              <a:gd name="connsiteY4" fmla="*/ 209062 h 840180"/>
              <a:gd name="connsiteX5" fmla="*/ 762227 w 1180351"/>
              <a:gd name="connsiteY5" fmla="*/ 209062 h 840180"/>
              <a:gd name="connsiteX6" fmla="*/ 988645 w 1180351"/>
              <a:gd name="connsiteY6" fmla="*/ 0 h 840180"/>
              <a:gd name="connsiteX0" fmla="*/ 337526 w 1180351"/>
              <a:gd name="connsiteY0" fmla="*/ 836247 h 840180"/>
              <a:gd name="connsiteX1" fmla="*/ 408353 w 1180351"/>
              <a:gd name="connsiteY1" fmla="*/ 797169 h 840180"/>
              <a:gd name="connsiteX2" fmla="*/ 0 w 1180351"/>
              <a:gd name="connsiteY2" fmla="*/ 0 h 840180"/>
              <a:gd name="connsiteX3" fmla="*/ 546588 w 1180351"/>
              <a:gd name="connsiteY3" fmla="*/ 836247 h 840180"/>
              <a:gd name="connsiteX4" fmla="*/ 337526 w 1180351"/>
              <a:gd name="connsiteY4" fmla="*/ 836247 h 840180"/>
              <a:gd name="connsiteX0" fmla="*/ 442057 w 1180351"/>
              <a:gd name="connsiteY0" fmla="*/ 820812 h 840180"/>
              <a:gd name="connsiteX1" fmla="*/ 866758 w 1180351"/>
              <a:gd name="connsiteY1" fmla="*/ 209062 h 840180"/>
              <a:gd name="connsiteX2" fmla="*/ 762227 w 1180351"/>
              <a:gd name="connsiteY2" fmla="*/ 209062 h 840180"/>
              <a:gd name="connsiteX3" fmla="*/ 988645 w 1180351"/>
              <a:gd name="connsiteY3" fmla="*/ 0 h 840180"/>
              <a:gd name="connsiteX4" fmla="*/ 1180351 w 1180351"/>
              <a:gd name="connsiteY4" fmla="*/ 209062 h 840180"/>
              <a:gd name="connsiteX5" fmla="*/ 1075820 w 1180351"/>
              <a:gd name="connsiteY5" fmla="*/ 209062 h 840180"/>
              <a:gd name="connsiteX6" fmla="*/ 546588 w 1180351"/>
              <a:gd name="connsiteY6" fmla="*/ 836247 h 840180"/>
              <a:gd name="connsiteX7" fmla="*/ 337526 w 1180351"/>
              <a:gd name="connsiteY7" fmla="*/ 836247 h 840180"/>
              <a:gd name="connsiteX8" fmla="*/ 439615 w 1180351"/>
              <a:gd name="connsiteY8" fmla="*/ 836246 h 840180"/>
              <a:gd name="connsiteX9" fmla="*/ 453293 w 1180351"/>
              <a:gd name="connsiteY9" fmla="*/ 820615 h 840180"/>
              <a:gd name="connsiteX10" fmla="*/ 546588 w 1180351"/>
              <a:gd name="connsiteY10" fmla="*/ 836247 h 840180"/>
              <a:gd name="connsiteX0" fmla="*/ 760640 w 952346"/>
              <a:gd name="connsiteY0" fmla="*/ 0 h 1018680"/>
              <a:gd name="connsiteX1" fmla="*/ 952346 w 952346"/>
              <a:gd name="connsiteY1" fmla="*/ 209062 h 1018680"/>
              <a:gd name="connsiteX2" fmla="*/ 847815 w 952346"/>
              <a:gd name="connsiteY2" fmla="*/ 209062 h 1018680"/>
              <a:gd name="connsiteX3" fmla="*/ 214053 w 952346"/>
              <a:gd name="connsiteY3" fmla="*/ 820812 h 1018680"/>
              <a:gd name="connsiteX4" fmla="*/ 638754 w 952346"/>
              <a:gd name="connsiteY4" fmla="*/ 209062 h 1018680"/>
              <a:gd name="connsiteX5" fmla="*/ 534222 w 952346"/>
              <a:gd name="connsiteY5" fmla="*/ 209062 h 1018680"/>
              <a:gd name="connsiteX6" fmla="*/ 760640 w 952346"/>
              <a:gd name="connsiteY6" fmla="*/ 0 h 1018680"/>
              <a:gd name="connsiteX0" fmla="*/ 109521 w 952346"/>
              <a:gd name="connsiteY0" fmla="*/ 836247 h 1018680"/>
              <a:gd name="connsiteX1" fmla="*/ 180348 w 952346"/>
              <a:gd name="connsiteY1" fmla="*/ 797169 h 1018680"/>
              <a:gd name="connsiteX2" fmla="*/ 201841 w 952346"/>
              <a:gd name="connsiteY2" fmla="*/ 804985 h 1018680"/>
              <a:gd name="connsiteX3" fmla="*/ 318583 w 952346"/>
              <a:gd name="connsiteY3" fmla="*/ 836247 h 1018680"/>
              <a:gd name="connsiteX4" fmla="*/ 109521 w 952346"/>
              <a:gd name="connsiteY4" fmla="*/ 836247 h 1018680"/>
              <a:gd name="connsiteX0" fmla="*/ 214052 w 952346"/>
              <a:gd name="connsiteY0" fmla="*/ 820812 h 1018680"/>
              <a:gd name="connsiteX1" fmla="*/ 638753 w 952346"/>
              <a:gd name="connsiteY1" fmla="*/ 209062 h 1018680"/>
              <a:gd name="connsiteX2" fmla="*/ 534222 w 952346"/>
              <a:gd name="connsiteY2" fmla="*/ 209062 h 1018680"/>
              <a:gd name="connsiteX3" fmla="*/ 760640 w 952346"/>
              <a:gd name="connsiteY3" fmla="*/ 0 h 1018680"/>
              <a:gd name="connsiteX4" fmla="*/ 952346 w 952346"/>
              <a:gd name="connsiteY4" fmla="*/ 209062 h 1018680"/>
              <a:gd name="connsiteX5" fmla="*/ 847815 w 952346"/>
              <a:gd name="connsiteY5" fmla="*/ 209062 h 1018680"/>
              <a:gd name="connsiteX6" fmla="*/ 318583 w 952346"/>
              <a:gd name="connsiteY6" fmla="*/ 836247 h 1018680"/>
              <a:gd name="connsiteX7" fmla="*/ 109521 w 952346"/>
              <a:gd name="connsiteY7" fmla="*/ 836247 h 1018680"/>
              <a:gd name="connsiteX8" fmla="*/ 211610 w 952346"/>
              <a:gd name="connsiteY8" fmla="*/ 836246 h 1018680"/>
              <a:gd name="connsiteX9" fmla="*/ 225288 w 952346"/>
              <a:gd name="connsiteY9" fmla="*/ 820615 h 1018680"/>
              <a:gd name="connsiteX10" fmla="*/ 318583 w 952346"/>
              <a:gd name="connsiteY10" fmla="*/ 836247 h 1018680"/>
              <a:gd name="connsiteX0" fmla="*/ 760640 w 952346"/>
              <a:gd name="connsiteY0" fmla="*/ 0 h 928141"/>
              <a:gd name="connsiteX1" fmla="*/ 952346 w 952346"/>
              <a:gd name="connsiteY1" fmla="*/ 209062 h 928141"/>
              <a:gd name="connsiteX2" fmla="*/ 847815 w 952346"/>
              <a:gd name="connsiteY2" fmla="*/ 209062 h 928141"/>
              <a:gd name="connsiteX3" fmla="*/ 214053 w 952346"/>
              <a:gd name="connsiteY3" fmla="*/ 820812 h 928141"/>
              <a:gd name="connsiteX4" fmla="*/ 638754 w 952346"/>
              <a:gd name="connsiteY4" fmla="*/ 209062 h 928141"/>
              <a:gd name="connsiteX5" fmla="*/ 534222 w 952346"/>
              <a:gd name="connsiteY5" fmla="*/ 209062 h 928141"/>
              <a:gd name="connsiteX6" fmla="*/ 760640 w 952346"/>
              <a:gd name="connsiteY6" fmla="*/ 0 h 928141"/>
              <a:gd name="connsiteX0" fmla="*/ 109521 w 952346"/>
              <a:gd name="connsiteY0" fmla="*/ 836247 h 928141"/>
              <a:gd name="connsiteX1" fmla="*/ 180348 w 952346"/>
              <a:gd name="connsiteY1" fmla="*/ 797169 h 928141"/>
              <a:gd name="connsiteX2" fmla="*/ 201841 w 952346"/>
              <a:gd name="connsiteY2" fmla="*/ 804985 h 928141"/>
              <a:gd name="connsiteX3" fmla="*/ 318583 w 952346"/>
              <a:gd name="connsiteY3" fmla="*/ 836247 h 928141"/>
              <a:gd name="connsiteX4" fmla="*/ 109521 w 952346"/>
              <a:gd name="connsiteY4" fmla="*/ 836247 h 928141"/>
              <a:gd name="connsiteX0" fmla="*/ 214052 w 952346"/>
              <a:gd name="connsiteY0" fmla="*/ 820812 h 928141"/>
              <a:gd name="connsiteX1" fmla="*/ 638753 w 952346"/>
              <a:gd name="connsiteY1" fmla="*/ 209062 h 928141"/>
              <a:gd name="connsiteX2" fmla="*/ 534222 w 952346"/>
              <a:gd name="connsiteY2" fmla="*/ 209062 h 928141"/>
              <a:gd name="connsiteX3" fmla="*/ 760640 w 952346"/>
              <a:gd name="connsiteY3" fmla="*/ 0 h 928141"/>
              <a:gd name="connsiteX4" fmla="*/ 952346 w 952346"/>
              <a:gd name="connsiteY4" fmla="*/ 209062 h 928141"/>
              <a:gd name="connsiteX5" fmla="*/ 847815 w 952346"/>
              <a:gd name="connsiteY5" fmla="*/ 209062 h 928141"/>
              <a:gd name="connsiteX6" fmla="*/ 318583 w 952346"/>
              <a:gd name="connsiteY6" fmla="*/ 836247 h 928141"/>
              <a:gd name="connsiteX7" fmla="*/ 109521 w 952346"/>
              <a:gd name="connsiteY7" fmla="*/ 836247 h 928141"/>
              <a:gd name="connsiteX8" fmla="*/ 211610 w 952346"/>
              <a:gd name="connsiteY8" fmla="*/ 836246 h 928141"/>
              <a:gd name="connsiteX9" fmla="*/ 225288 w 952346"/>
              <a:gd name="connsiteY9" fmla="*/ 820615 h 928141"/>
              <a:gd name="connsiteX10" fmla="*/ 318583 w 952346"/>
              <a:gd name="connsiteY10" fmla="*/ 836247 h 928141"/>
              <a:gd name="connsiteX0" fmla="*/ 760640 w 952346"/>
              <a:gd name="connsiteY0" fmla="*/ 0 h 840180"/>
              <a:gd name="connsiteX1" fmla="*/ 952346 w 952346"/>
              <a:gd name="connsiteY1" fmla="*/ 209062 h 840180"/>
              <a:gd name="connsiteX2" fmla="*/ 847815 w 952346"/>
              <a:gd name="connsiteY2" fmla="*/ 209062 h 840180"/>
              <a:gd name="connsiteX3" fmla="*/ 214053 w 952346"/>
              <a:gd name="connsiteY3" fmla="*/ 820812 h 840180"/>
              <a:gd name="connsiteX4" fmla="*/ 638754 w 952346"/>
              <a:gd name="connsiteY4" fmla="*/ 209062 h 840180"/>
              <a:gd name="connsiteX5" fmla="*/ 534222 w 952346"/>
              <a:gd name="connsiteY5" fmla="*/ 209062 h 840180"/>
              <a:gd name="connsiteX6" fmla="*/ 760640 w 952346"/>
              <a:gd name="connsiteY6" fmla="*/ 0 h 840180"/>
              <a:gd name="connsiteX0" fmla="*/ 109521 w 952346"/>
              <a:gd name="connsiteY0" fmla="*/ 836247 h 840180"/>
              <a:gd name="connsiteX1" fmla="*/ 180348 w 952346"/>
              <a:gd name="connsiteY1" fmla="*/ 797169 h 840180"/>
              <a:gd name="connsiteX2" fmla="*/ 201841 w 952346"/>
              <a:gd name="connsiteY2" fmla="*/ 804985 h 840180"/>
              <a:gd name="connsiteX3" fmla="*/ 318583 w 952346"/>
              <a:gd name="connsiteY3" fmla="*/ 836247 h 840180"/>
              <a:gd name="connsiteX4" fmla="*/ 109521 w 952346"/>
              <a:gd name="connsiteY4" fmla="*/ 836247 h 840180"/>
              <a:gd name="connsiteX0" fmla="*/ 214052 w 952346"/>
              <a:gd name="connsiteY0" fmla="*/ 820812 h 840180"/>
              <a:gd name="connsiteX1" fmla="*/ 638753 w 952346"/>
              <a:gd name="connsiteY1" fmla="*/ 209062 h 840180"/>
              <a:gd name="connsiteX2" fmla="*/ 534222 w 952346"/>
              <a:gd name="connsiteY2" fmla="*/ 209062 h 840180"/>
              <a:gd name="connsiteX3" fmla="*/ 760640 w 952346"/>
              <a:gd name="connsiteY3" fmla="*/ 0 h 840180"/>
              <a:gd name="connsiteX4" fmla="*/ 952346 w 952346"/>
              <a:gd name="connsiteY4" fmla="*/ 209062 h 840180"/>
              <a:gd name="connsiteX5" fmla="*/ 847815 w 952346"/>
              <a:gd name="connsiteY5" fmla="*/ 209062 h 840180"/>
              <a:gd name="connsiteX6" fmla="*/ 318583 w 952346"/>
              <a:gd name="connsiteY6" fmla="*/ 836247 h 840180"/>
              <a:gd name="connsiteX7" fmla="*/ 109521 w 952346"/>
              <a:gd name="connsiteY7" fmla="*/ 836247 h 840180"/>
              <a:gd name="connsiteX8" fmla="*/ 211610 w 952346"/>
              <a:gd name="connsiteY8" fmla="*/ 836246 h 840180"/>
              <a:gd name="connsiteX9" fmla="*/ 225288 w 952346"/>
              <a:gd name="connsiteY9" fmla="*/ 820615 h 840180"/>
              <a:gd name="connsiteX10" fmla="*/ 318583 w 952346"/>
              <a:gd name="connsiteY10" fmla="*/ 836247 h 8401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952346" h="840180" stroke="0" extrusionOk="0">
                <a:moveTo>
                  <a:pt x="760640" y="0"/>
                </a:moveTo>
                <a:lnTo>
                  <a:pt x="952346" y="209062"/>
                </a:lnTo>
                <a:lnTo>
                  <a:pt x="847815" y="209062"/>
                </a:lnTo>
                <a:cubicBezTo>
                  <a:pt x="775543" y="637308"/>
                  <a:pt x="497807" y="905397"/>
                  <a:pt x="214053" y="820812"/>
                </a:cubicBezTo>
                <a:cubicBezTo>
                  <a:pt x="420852" y="759167"/>
                  <a:pt x="586082" y="521165"/>
                  <a:pt x="638754" y="209062"/>
                </a:cubicBezTo>
                <a:lnTo>
                  <a:pt x="534222" y="209062"/>
                </a:lnTo>
                <a:lnTo>
                  <a:pt x="760640" y="0"/>
                </a:lnTo>
                <a:close/>
              </a:path>
              <a:path w="952346" h="840180" fill="darkenLess" stroke="0" extrusionOk="0">
                <a:moveTo>
                  <a:pt x="109521" y="836247"/>
                </a:moveTo>
                <a:cubicBezTo>
                  <a:pt x="174972" y="844063"/>
                  <a:pt x="250687" y="836985"/>
                  <a:pt x="180348" y="797169"/>
                </a:cubicBezTo>
                <a:cubicBezTo>
                  <a:pt x="239615" y="828431"/>
                  <a:pt x="205097" y="804985"/>
                  <a:pt x="201841" y="804985"/>
                </a:cubicBezTo>
                <a:cubicBezTo>
                  <a:pt x="233103" y="805723"/>
                  <a:pt x="16711" y="836247"/>
                  <a:pt x="318583" y="836247"/>
                </a:cubicBezTo>
                <a:lnTo>
                  <a:pt x="109521" y="836247"/>
                </a:lnTo>
                <a:close/>
              </a:path>
              <a:path w="952346" h="840180" fill="none" extrusionOk="0">
                <a:moveTo>
                  <a:pt x="214052" y="820812"/>
                </a:moveTo>
                <a:cubicBezTo>
                  <a:pt x="420851" y="759167"/>
                  <a:pt x="586081" y="521165"/>
                  <a:pt x="638753" y="209062"/>
                </a:cubicBezTo>
                <a:lnTo>
                  <a:pt x="534222" y="209062"/>
                </a:lnTo>
                <a:lnTo>
                  <a:pt x="760640" y="0"/>
                </a:lnTo>
                <a:lnTo>
                  <a:pt x="952346" y="209062"/>
                </a:lnTo>
                <a:lnTo>
                  <a:pt x="847815" y="209062"/>
                </a:lnTo>
                <a:cubicBezTo>
                  <a:pt x="785504" y="578280"/>
                  <a:pt x="567827" y="836247"/>
                  <a:pt x="318583" y="836247"/>
                </a:cubicBezTo>
                <a:lnTo>
                  <a:pt x="109521" y="836247"/>
                </a:lnTo>
                <a:cubicBezTo>
                  <a:pt x="-192351" y="836247"/>
                  <a:pt x="227240" y="844800"/>
                  <a:pt x="211610" y="836246"/>
                </a:cubicBezTo>
                <a:cubicBezTo>
                  <a:pt x="229195" y="854482"/>
                  <a:pt x="238964" y="802380"/>
                  <a:pt x="225288" y="820615"/>
                </a:cubicBezTo>
                <a:cubicBezTo>
                  <a:pt x="256549" y="813538"/>
                  <a:pt x="16711" y="836247"/>
                  <a:pt x="318583" y="836247"/>
                </a:cubicBezTo>
              </a:path>
            </a:pathLst>
          </a:cu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7" name="Rounded Rectangle 16"/>
          <p:cNvSpPr/>
          <p:nvPr/>
        </p:nvSpPr>
        <p:spPr>
          <a:xfrm>
            <a:off x="10399337" y="3533339"/>
            <a:ext cx="1073649" cy="569737"/>
          </a:xfrm>
          <a:prstGeom prst="roundRect">
            <a:avLst/>
          </a:prstGeom>
          <a:noFill/>
          <a:ln w="28575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/>
          <p:cNvSpPr/>
          <p:nvPr/>
        </p:nvSpPr>
        <p:spPr>
          <a:xfrm>
            <a:off x="8193256" y="1599001"/>
            <a:ext cx="3126153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en-US" dirty="0">
                <a:latin typeface="+mn-lt"/>
              </a:rPr>
              <a:t>You will receive a notification of submission, and once approved</a:t>
            </a:r>
          </a:p>
        </p:txBody>
      </p:sp>
      <p:sp>
        <p:nvSpPr>
          <p:cNvPr id="23" name="Rounded Rectangle 22"/>
          <p:cNvSpPr/>
          <p:nvPr/>
        </p:nvSpPr>
        <p:spPr>
          <a:xfrm>
            <a:off x="6294981" y="1354079"/>
            <a:ext cx="848282" cy="443460"/>
          </a:xfrm>
          <a:prstGeom prst="roundRect">
            <a:avLst/>
          </a:prstGeom>
          <a:noFill/>
          <a:ln w="28575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ounded Rectangle 23"/>
          <p:cNvSpPr/>
          <p:nvPr/>
        </p:nvSpPr>
        <p:spPr>
          <a:xfrm>
            <a:off x="3555688" y="2884655"/>
            <a:ext cx="888930" cy="490327"/>
          </a:xfrm>
          <a:prstGeom prst="roundRect">
            <a:avLst/>
          </a:prstGeom>
          <a:noFill/>
          <a:ln w="28575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/>
          <p:cNvSpPr/>
          <p:nvPr/>
        </p:nvSpPr>
        <p:spPr>
          <a:xfrm>
            <a:off x="5909939" y="1307357"/>
            <a:ext cx="385042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800" b="1" dirty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26" name="Rectangle 25"/>
          <p:cNvSpPr/>
          <p:nvPr/>
        </p:nvSpPr>
        <p:spPr>
          <a:xfrm>
            <a:off x="3205244" y="2865061"/>
            <a:ext cx="385042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800" b="1" dirty="0">
                <a:solidFill>
                  <a:schemeClr val="bg2"/>
                </a:solidFill>
              </a:rPr>
              <a:t>2</a:t>
            </a:r>
          </a:p>
        </p:txBody>
      </p:sp>
      <p:sp>
        <p:nvSpPr>
          <p:cNvPr id="31" name="Rectangle 30"/>
          <p:cNvSpPr/>
          <p:nvPr/>
        </p:nvSpPr>
        <p:spPr>
          <a:xfrm>
            <a:off x="10014294" y="3533339"/>
            <a:ext cx="385042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800" b="1" dirty="0">
                <a:solidFill>
                  <a:schemeClr val="bg2"/>
                </a:solidFill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169318124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urved Up Arrow 10"/>
          <p:cNvSpPr/>
          <p:nvPr/>
        </p:nvSpPr>
        <p:spPr>
          <a:xfrm rot="4686745">
            <a:off x="2392404" y="3828870"/>
            <a:ext cx="952346" cy="1545105"/>
          </a:xfrm>
          <a:custGeom>
            <a:avLst/>
            <a:gdLst>
              <a:gd name="connsiteX0" fmla="*/ 1197707 w 1406769"/>
              <a:gd name="connsiteY0" fmla="*/ 0 h 836247"/>
              <a:gd name="connsiteX1" fmla="*/ 1389413 w 1406769"/>
              <a:gd name="connsiteY1" fmla="*/ 209062 h 836247"/>
              <a:gd name="connsiteX2" fmla="*/ 1284882 w 1406769"/>
              <a:gd name="connsiteY2" fmla="*/ 209062 h 836247"/>
              <a:gd name="connsiteX3" fmla="*/ 651120 w 1406769"/>
              <a:gd name="connsiteY3" fmla="*/ 820812 h 836247"/>
              <a:gd name="connsiteX4" fmla="*/ 1075821 w 1406769"/>
              <a:gd name="connsiteY4" fmla="*/ 209062 h 836247"/>
              <a:gd name="connsiteX5" fmla="*/ 971289 w 1406769"/>
              <a:gd name="connsiteY5" fmla="*/ 209062 h 836247"/>
              <a:gd name="connsiteX6" fmla="*/ 1197707 w 1406769"/>
              <a:gd name="connsiteY6" fmla="*/ 0 h 836247"/>
              <a:gd name="connsiteX0" fmla="*/ 546588 w 1406769"/>
              <a:gd name="connsiteY0" fmla="*/ 836247 h 836247"/>
              <a:gd name="connsiteX1" fmla="*/ 0 w 1406769"/>
              <a:gd name="connsiteY1" fmla="*/ 0 h 836247"/>
              <a:gd name="connsiteX2" fmla="*/ 209062 w 1406769"/>
              <a:gd name="connsiteY2" fmla="*/ 0 h 836247"/>
              <a:gd name="connsiteX3" fmla="*/ 755650 w 1406769"/>
              <a:gd name="connsiteY3" fmla="*/ 836247 h 836247"/>
              <a:gd name="connsiteX4" fmla="*/ 546588 w 1406769"/>
              <a:gd name="connsiteY4" fmla="*/ 836247 h 836247"/>
              <a:gd name="connsiteX0" fmla="*/ 651119 w 1406769"/>
              <a:gd name="connsiteY0" fmla="*/ 820812 h 836247"/>
              <a:gd name="connsiteX1" fmla="*/ 1075820 w 1406769"/>
              <a:gd name="connsiteY1" fmla="*/ 209062 h 836247"/>
              <a:gd name="connsiteX2" fmla="*/ 971289 w 1406769"/>
              <a:gd name="connsiteY2" fmla="*/ 209062 h 836247"/>
              <a:gd name="connsiteX3" fmla="*/ 1197707 w 1406769"/>
              <a:gd name="connsiteY3" fmla="*/ 0 h 836247"/>
              <a:gd name="connsiteX4" fmla="*/ 1389413 w 1406769"/>
              <a:gd name="connsiteY4" fmla="*/ 209062 h 836247"/>
              <a:gd name="connsiteX5" fmla="*/ 1284882 w 1406769"/>
              <a:gd name="connsiteY5" fmla="*/ 209062 h 836247"/>
              <a:gd name="connsiteX6" fmla="*/ 755650 w 1406769"/>
              <a:gd name="connsiteY6" fmla="*/ 836247 h 836247"/>
              <a:gd name="connsiteX7" fmla="*/ 546588 w 1406769"/>
              <a:gd name="connsiteY7" fmla="*/ 836247 h 836247"/>
              <a:gd name="connsiteX8" fmla="*/ 0 w 1406769"/>
              <a:gd name="connsiteY8" fmla="*/ 0 h 836247"/>
              <a:gd name="connsiteX9" fmla="*/ 209062 w 1406769"/>
              <a:gd name="connsiteY9" fmla="*/ 0 h 836247"/>
              <a:gd name="connsiteX10" fmla="*/ 755650 w 1406769"/>
              <a:gd name="connsiteY10" fmla="*/ 836247 h 836247"/>
              <a:gd name="connsiteX0" fmla="*/ 1197707 w 1389413"/>
              <a:gd name="connsiteY0" fmla="*/ 0 h 836376"/>
              <a:gd name="connsiteX1" fmla="*/ 1389413 w 1389413"/>
              <a:gd name="connsiteY1" fmla="*/ 209062 h 836376"/>
              <a:gd name="connsiteX2" fmla="*/ 1284882 w 1389413"/>
              <a:gd name="connsiteY2" fmla="*/ 209062 h 836376"/>
              <a:gd name="connsiteX3" fmla="*/ 651120 w 1389413"/>
              <a:gd name="connsiteY3" fmla="*/ 820812 h 836376"/>
              <a:gd name="connsiteX4" fmla="*/ 1075821 w 1389413"/>
              <a:gd name="connsiteY4" fmla="*/ 209062 h 836376"/>
              <a:gd name="connsiteX5" fmla="*/ 971289 w 1389413"/>
              <a:gd name="connsiteY5" fmla="*/ 209062 h 836376"/>
              <a:gd name="connsiteX6" fmla="*/ 1197707 w 1389413"/>
              <a:gd name="connsiteY6" fmla="*/ 0 h 836376"/>
              <a:gd name="connsiteX0" fmla="*/ 546588 w 1389413"/>
              <a:gd name="connsiteY0" fmla="*/ 836247 h 836376"/>
              <a:gd name="connsiteX1" fmla="*/ 0 w 1389413"/>
              <a:gd name="connsiteY1" fmla="*/ 0 h 836376"/>
              <a:gd name="connsiteX2" fmla="*/ 209062 w 1389413"/>
              <a:gd name="connsiteY2" fmla="*/ 0 h 836376"/>
              <a:gd name="connsiteX3" fmla="*/ 755650 w 1389413"/>
              <a:gd name="connsiteY3" fmla="*/ 836247 h 836376"/>
              <a:gd name="connsiteX4" fmla="*/ 546588 w 1389413"/>
              <a:gd name="connsiteY4" fmla="*/ 836247 h 836376"/>
              <a:gd name="connsiteX0" fmla="*/ 651119 w 1389413"/>
              <a:gd name="connsiteY0" fmla="*/ 820812 h 836376"/>
              <a:gd name="connsiteX1" fmla="*/ 1075820 w 1389413"/>
              <a:gd name="connsiteY1" fmla="*/ 209062 h 836376"/>
              <a:gd name="connsiteX2" fmla="*/ 971289 w 1389413"/>
              <a:gd name="connsiteY2" fmla="*/ 209062 h 836376"/>
              <a:gd name="connsiteX3" fmla="*/ 1197707 w 1389413"/>
              <a:gd name="connsiteY3" fmla="*/ 0 h 836376"/>
              <a:gd name="connsiteX4" fmla="*/ 1389413 w 1389413"/>
              <a:gd name="connsiteY4" fmla="*/ 209062 h 836376"/>
              <a:gd name="connsiteX5" fmla="*/ 1284882 w 1389413"/>
              <a:gd name="connsiteY5" fmla="*/ 209062 h 836376"/>
              <a:gd name="connsiteX6" fmla="*/ 755650 w 1389413"/>
              <a:gd name="connsiteY6" fmla="*/ 836247 h 836376"/>
              <a:gd name="connsiteX7" fmla="*/ 546588 w 1389413"/>
              <a:gd name="connsiteY7" fmla="*/ 836247 h 836376"/>
              <a:gd name="connsiteX8" fmla="*/ 0 w 1389413"/>
              <a:gd name="connsiteY8" fmla="*/ 0 h 836376"/>
              <a:gd name="connsiteX9" fmla="*/ 209062 w 1389413"/>
              <a:gd name="connsiteY9" fmla="*/ 0 h 836376"/>
              <a:gd name="connsiteX10" fmla="*/ 755650 w 1389413"/>
              <a:gd name="connsiteY10" fmla="*/ 836247 h 836376"/>
              <a:gd name="connsiteX0" fmla="*/ 1197707 w 1389413"/>
              <a:gd name="connsiteY0" fmla="*/ 0 h 1041511"/>
              <a:gd name="connsiteX1" fmla="*/ 1389413 w 1389413"/>
              <a:gd name="connsiteY1" fmla="*/ 209062 h 1041511"/>
              <a:gd name="connsiteX2" fmla="*/ 1284882 w 1389413"/>
              <a:gd name="connsiteY2" fmla="*/ 209062 h 1041511"/>
              <a:gd name="connsiteX3" fmla="*/ 651120 w 1389413"/>
              <a:gd name="connsiteY3" fmla="*/ 820812 h 1041511"/>
              <a:gd name="connsiteX4" fmla="*/ 1075821 w 1389413"/>
              <a:gd name="connsiteY4" fmla="*/ 209062 h 1041511"/>
              <a:gd name="connsiteX5" fmla="*/ 971289 w 1389413"/>
              <a:gd name="connsiteY5" fmla="*/ 209062 h 1041511"/>
              <a:gd name="connsiteX6" fmla="*/ 1197707 w 1389413"/>
              <a:gd name="connsiteY6" fmla="*/ 0 h 1041511"/>
              <a:gd name="connsiteX0" fmla="*/ 546588 w 1389413"/>
              <a:gd name="connsiteY0" fmla="*/ 836247 h 1041511"/>
              <a:gd name="connsiteX1" fmla="*/ 0 w 1389413"/>
              <a:gd name="connsiteY1" fmla="*/ 0 h 1041511"/>
              <a:gd name="connsiteX2" fmla="*/ 209062 w 1389413"/>
              <a:gd name="connsiteY2" fmla="*/ 0 h 1041511"/>
              <a:gd name="connsiteX3" fmla="*/ 755650 w 1389413"/>
              <a:gd name="connsiteY3" fmla="*/ 836247 h 1041511"/>
              <a:gd name="connsiteX4" fmla="*/ 546588 w 1389413"/>
              <a:gd name="connsiteY4" fmla="*/ 836247 h 1041511"/>
              <a:gd name="connsiteX0" fmla="*/ 651119 w 1389413"/>
              <a:gd name="connsiteY0" fmla="*/ 820812 h 1041511"/>
              <a:gd name="connsiteX1" fmla="*/ 1075820 w 1389413"/>
              <a:gd name="connsiteY1" fmla="*/ 209062 h 1041511"/>
              <a:gd name="connsiteX2" fmla="*/ 971289 w 1389413"/>
              <a:gd name="connsiteY2" fmla="*/ 209062 h 1041511"/>
              <a:gd name="connsiteX3" fmla="*/ 1197707 w 1389413"/>
              <a:gd name="connsiteY3" fmla="*/ 0 h 1041511"/>
              <a:gd name="connsiteX4" fmla="*/ 1389413 w 1389413"/>
              <a:gd name="connsiteY4" fmla="*/ 209062 h 1041511"/>
              <a:gd name="connsiteX5" fmla="*/ 1284882 w 1389413"/>
              <a:gd name="connsiteY5" fmla="*/ 209062 h 1041511"/>
              <a:gd name="connsiteX6" fmla="*/ 755650 w 1389413"/>
              <a:gd name="connsiteY6" fmla="*/ 836247 h 1041511"/>
              <a:gd name="connsiteX7" fmla="*/ 546588 w 1389413"/>
              <a:gd name="connsiteY7" fmla="*/ 836247 h 1041511"/>
              <a:gd name="connsiteX8" fmla="*/ 648677 w 1389413"/>
              <a:gd name="connsiteY8" fmla="*/ 836246 h 1041511"/>
              <a:gd name="connsiteX9" fmla="*/ 209062 w 1389413"/>
              <a:gd name="connsiteY9" fmla="*/ 0 h 1041511"/>
              <a:gd name="connsiteX10" fmla="*/ 755650 w 1389413"/>
              <a:gd name="connsiteY10" fmla="*/ 836247 h 1041511"/>
              <a:gd name="connsiteX0" fmla="*/ 1197707 w 1389413"/>
              <a:gd name="connsiteY0" fmla="*/ 0 h 840048"/>
              <a:gd name="connsiteX1" fmla="*/ 1389413 w 1389413"/>
              <a:gd name="connsiteY1" fmla="*/ 209062 h 840048"/>
              <a:gd name="connsiteX2" fmla="*/ 1284882 w 1389413"/>
              <a:gd name="connsiteY2" fmla="*/ 209062 h 840048"/>
              <a:gd name="connsiteX3" fmla="*/ 651120 w 1389413"/>
              <a:gd name="connsiteY3" fmla="*/ 820812 h 840048"/>
              <a:gd name="connsiteX4" fmla="*/ 1075821 w 1389413"/>
              <a:gd name="connsiteY4" fmla="*/ 209062 h 840048"/>
              <a:gd name="connsiteX5" fmla="*/ 971289 w 1389413"/>
              <a:gd name="connsiteY5" fmla="*/ 209062 h 840048"/>
              <a:gd name="connsiteX6" fmla="*/ 1197707 w 1389413"/>
              <a:gd name="connsiteY6" fmla="*/ 0 h 840048"/>
              <a:gd name="connsiteX0" fmla="*/ 546588 w 1389413"/>
              <a:gd name="connsiteY0" fmla="*/ 836247 h 840048"/>
              <a:gd name="connsiteX1" fmla="*/ 0 w 1389413"/>
              <a:gd name="connsiteY1" fmla="*/ 0 h 840048"/>
              <a:gd name="connsiteX2" fmla="*/ 209062 w 1389413"/>
              <a:gd name="connsiteY2" fmla="*/ 0 h 840048"/>
              <a:gd name="connsiteX3" fmla="*/ 755650 w 1389413"/>
              <a:gd name="connsiteY3" fmla="*/ 836247 h 840048"/>
              <a:gd name="connsiteX4" fmla="*/ 546588 w 1389413"/>
              <a:gd name="connsiteY4" fmla="*/ 836247 h 840048"/>
              <a:gd name="connsiteX0" fmla="*/ 651119 w 1389413"/>
              <a:gd name="connsiteY0" fmla="*/ 820812 h 840048"/>
              <a:gd name="connsiteX1" fmla="*/ 1075820 w 1389413"/>
              <a:gd name="connsiteY1" fmla="*/ 209062 h 840048"/>
              <a:gd name="connsiteX2" fmla="*/ 971289 w 1389413"/>
              <a:gd name="connsiteY2" fmla="*/ 209062 h 840048"/>
              <a:gd name="connsiteX3" fmla="*/ 1197707 w 1389413"/>
              <a:gd name="connsiteY3" fmla="*/ 0 h 840048"/>
              <a:gd name="connsiteX4" fmla="*/ 1389413 w 1389413"/>
              <a:gd name="connsiteY4" fmla="*/ 209062 h 840048"/>
              <a:gd name="connsiteX5" fmla="*/ 1284882 w 1389413"/>
              <a:gd name="connsiteY5" fmla="*/ 209062 h 840048"/>
              <a:gd name="connsiteX6" fmla="*/ 755650 w 1389413"/>
              <a:gd name="connsiteY6" fmla="*/ 836247 h 840048"/>
              <a:gd name="connsiteX7" fmla="*/ 546588 w 1389413"/>
              <a:gd name="connsiteY7" fmla="*/ 836247 h 840048"/>
              <a:gd name="connsiteX8" fmla="*/ 648677 w 1389413"/>
              <a:gd name="connsiteY8" fmla="*/ 836246 h 840048"/>
              <a:gd name="connsiteX9" fmla="*/ 209062 w 1389413"/>
              <a:gd name="connsiteY9" fmla="*/ 0 h 840048"/>
              <a:gd name="connsiteX10" fmla="*/ 755650 w 1389413"/>
              <a:gd name="connsiteY10" fmla="*/ 836247 h 840048"/>
              <a:gd name="connsiteX0" fmla="*/ 1197707 w 1389413"/>
              <a:gd name="connsiteY0" fmla="*/ 0 h 840048"/>
              <a:gd name="connsiteX1" fmla="*/ 1389413 w 1389413"/>
              <a:gd name="connsiteY1" fmla="*/ 209062 h 840048"/>
              <a:gd name="connsiteX2" fmla="*/ 1284882 w 1389413"/>
              <a:gd name="connsiteY2" fmla="*/ 209062 h 840048"/>
              <a:gd name="connsiteX3" fmla="*/ 651120 w 1389413"/>
              <a:gd name="connsiteY3" fmla="*/ 820812 h 840048"/>
              <a:gd name="connsiteX4" fmla="*/ 1075821 w 1389413"/>
              <a:gd name="connsiteY4" fmla="*/ 209062 h 840048"/>
              <a:gd name="connsiteX5" fmla="*/ 971289 w 1389413"/>
              <a:gd name="connsiteY5" fmla="*/ 209062 h 840048"/>
              <a:gd name="connsiteX6" fmla="*/ 1197707 w 1389413"/>
              <a:gd name="connsiteY6" fmla="*/ 0 h 840048"/>
              <a:gd name="connsiteX0" fmla="*/ 546588 w 1389413"/>
              <a:gd name="connsiteY0" fmla="*/ 836247 h 840048"/>
              <a:gd name="connsiteX1" fmla="*/ 0 w 1389413"/>
              <a:gd name="connsiteY1" fmla="*/ 0 h 840048"/>
              <a:gd name="connsiteX2" fmla="*/ 209062 w 1389413"/>
              <a:gd name="connsiteY2" fmla="*/ 0 h 840048"/>
              <a:gd name="connsiteX3" fmla="*/ 755650 w 1389413"/>
              <a:gd name="connsiteY3" fmla="*/ 836247 h 840048"/>
              <a:gd name="connsiteX4" fmla="*/ 546588 w 1389413"/>
              <a:gd name="connsiteY4" fmla="*/ 836247 h 840048"/>
              <a:gd name="connsiteX0" fmla="*/ 651119 w 1389413"/>
              <a:gd name="connsiteY0" fmla="*/ 820812 h 840048"/>
              <a:gd name="connsiteX1" fmla="*/ 1075820 w 1389413"/>
              <a:gd name="connsiteY1" fmla="*/ 209062 h 840048"/>
              <a:gd name="connsiteX2" fmla="*/ 971289 w 1389413"/>
              <a:gd name="connsiteY2" fmla="*/ 209062 h 840048"/>
              <a:gd name="connsiteX3" fmla="*/ 1197707 w 1389413"/>
              <a:gd name="connsiteY3" fmla="*/ 0 h 840048"/>
              <a:gd name="connsiteX4" fmla="*/ 1389413 w 1389413"/>
              <a:gd name="connsiteY4" fmla="*/ 209062 h 840048"/>
              <a:gd name="connsiteX5" fmla="*/ 1284882 w 1389413"/>
              <a:gd name="connsiteY5" fmla="*/ 209062 h 840048"/>
              <a:gd name="connsiteX6" fmla="*/ 755650 w 1389413"/>
              <a:gd name="connsiteY6" fmla="*/ 836247 h 840048"/>
              <a:gd name="connsiteX7" fmla="*/ 546588 w 1389413"/>
              <a:gd name="connsiteY7" fmla="*/ 836247 h 840048"/>
              <a:gd name="connsiteX8" fmla="*/ 648677 w 1389413"/>
              <a:gd name="connsiteY8" fmla="*/ 836246 h 840048"/>
              <a:gd name="connsiteX9" fmla="*/ 209062 w 1389413"/>
              <a:gd name="connsiteY9" fmla="*/ 0 h 840048"/>
              <a:gd name="connsiteX10" fmla="*/ 755650 w 1389413"/>
              <a:gd name="connsiteY10" fmla="*/ 836247 h 840048"/>
              <a:gd name="connsiteX0" fmla="*/ 988645 w 1180351"/>
              <a:gd name="connsiteY0" fmla="*/ 0 h 1014983"/>
              <a:gd name="connsiteX1" fmla="*/ 1180351 w 1180351"/>
              <a:gd name="connsiteY1" fmla="*/ 209062 h 1014983"/>
              <a:gd name="connsiteX2" fmla="*/ 1075820 w 1180351"/>
              <a:gd name="connsiteY2" fmla="*/ 209062 h 1014983"/>
              <a:gd name="connsiteX3" fmla="*/ 442058 w 1180351"/>
              <a:gd name="connsiteY3" fmla="*/ 820812 h 1014983"/>
              <a:gd name="connsiteX4" fmla="*/ 866759 w 1180351"/>
              <a:gd name="connsiteY4" fmla="*/ 209062 h 1014983"/>
              <a:gd name="connsiteX5" fmla="*/ 762227 w 1180351"/>
              <a:gd name="connsiteY5" fmla="*/ 209062 h 1014983"/>
              <a:gd name="connsiteX6" fmla="*/ 988645 w 1180351"/>
              <a:gd name="connsiteY6" fmla="*/ 0 h 1014983"/>
              <a:gd name="connsiteX0" fmla="*/ 337526 w 1180351"/>
              <a:gd name="connsiteY0" fmla="*/ 836247 h 1014983"/>
              <a:gd name="connsiteX1" fmla="*/ 408353 w 1180351"/>
              <a:gd name="connsiteY1" fmla="*/ 797169 h 1014983"/>
              <a:gd name="connsiteX2" fmla="*/ 0 w 1180351"/>
              <a:gd name="connsiteY2" fmla="*/ 0 h 1014983"/>
              <a:gd name="connsiteX3" fmla="*/ 546588 w 1180351"/>
              <a:gd name="connsiteY3" fmla="*/ 836247 h 1014983"/>
              <a:gd name="connsiteX4" fmla="*/ 337526 w 1180351"/>
              <a:gd name="connsiteY4" fmla="*/ 836247 h 1014983"/>
              <a:gd name="connsiteX0" fmla="*/ 442057 w 1180351"/>
              <a:gd name="connsiteY0" fmla="*/ 820812 h 1014983"/>
              <a:gd name="connsiteX1" fmla="*/ 866758 w 1180351"/>
              <a:gd name="connsiteY1" fmla="*/ 209062 h 1014983"/>
              <a:gd name="connsiteX2" fmla="*/ 762227 w 1180351"/>
              <a:gd name="connsiteY2" fmla="*/ 209062 h 1014983"/>
              <a:gd name="connsiteX3" fmla="*/ 988645 w 1180351"/>
              <a:gd name="connsiteY3" fmla="*/ 0 h 1014983"/>
              <a:gd name="connsiteX4" fmla="*/ 1180351 w 1180351"/>
              <a:gd name="connsiteY4" fmla="*/ 209062 h 1014983"/>
              <a:gd name="connsiteX5" fmla="*/ 1075820 w 1180351"/>
              <a:gd name="connsiteY5" fmla="*/ 209062 h 1014983"/>
              <a:gd name="connsiteX6" fmla="*/ 546588 w 1180351"/>
              <a:gd name="connsiteY6" fmla="*/ 836247 h 1014983"/>
              <a:gd name="connsiteX7" fmla="*/ 337526 w 1180351"/>
              <a:gd name="connsiteY7" fmla="*/ 836247 h 1014983"/>
              <a:gd name="connsiteX8" fmla="*/ 439615 w 1180351"/>
              <a:gd name="connsiteY8" fmla="*/ 836246 h 1014983"/>
              <a:gd name="connsiteX9" fmla="*/ 0 w 1180351"/>
              <a:gd name="connsiteY9" fmla="*/ 0 h 1014983"/>
              <a:gd name="connsiteX10" fmla="*/ 546588 w 1180351"/>
              <a:gd name="connsiteY10" fmla="*/ 836247 h 1014983"/>
              <a:gd name="connsiteX0" fmla="*/ 988645 w 1180351"/>
              <a:gd name="connsiteY0" fmla="*/ 0 h 840048"/>
              <a:gd name="connsiteX1" fmla="*/ 1180351 w 1180351"/>
              <a:gd name="connsiteY1" fmla="*/ 209062 h 840048"/>
              <a:gd name="connsiteX2" fmla="*/ 1075820 w 1180351"/>
              <a:gd name="connsiteY2" fmla="*/ 209062 h 840048"/>
              <a:gd name="connsiteX3" fmla="*/ 442058 w 1180351"/>
              <a:gd name="connsiteY3" fmla="*/ 820812 h 840048"/>
              <a:gd name="connsiteX4" fmla="*/ 866759 w 1180351"/>
              <a:gd name="connsiteY4" fmla="*/ 209062 h 840048"/>
              <a:gd name="connsiteX5" fmla="*/ 762227 w 1180351"/>
              <a:gd name="connsiteY5" fmla="*/ 209062 h 840048"/>
              <a:gd name="connsiteX6" fmla="*/ 988645 w 1180351"/>
              <a:gd name="connsiteY6" fmla="*/ 0 h 840048"/>
              <a:gd name="connsiteX0" fmla="*/ 337526 w 1180351"/>
              <a:gd name="connsiteY0" fmla="*/ 836247 h 840048"/>
              <a:gd name="connsiteX1" fmla="*/ 408353 w 1180351"/>
              <a:gd name="connsiteY1" fmla="*/ 797169 h 840048"/>
              <a:gd name="connsiteX2" fmla="*/ 0 w 1180351"/>
              <a:gd name="connsiteY2" fmla="*/ 0 h 840048"/>
              <a:gd name="connsiteX3" fmla="*/ 546588 w 1180351"/>
              <a:gd name="connsiteY3" fmla="*/ 836247 h 840048"/>
              <a:gd name="connsiteX4" fmla="*/ 337526 w 1180351"/>
              <a:gd name="connsiteY4" fmla="*/ 836247 h 840048"/>
              <a:gd name="connsiteX0" fmla="*/ 442057 w 1180351"/>
              <a:gd name="connsiteY0" fmla="*/ 820812 h 840048"/>
              <a:gd name="connsiteX1" fmla="*/ 866758 w 1180351"/>
              <a:gd name="connsiteY1" fmla="*/ 209062 h 840048"/>
              <a:gd name="connsiteX2" fmla="*/ 762227 w 1180351"/>
              <a:gd name="connsiteY2" fmla="*/ 209062 h 840048"/>
              <a:gd name="connsiteX3" fmla="*/ 988645 w 1180351"/>
              <a:gd name="connsiteY3" fmla="*/ 0 h 840048"/>
              <a:gd name="connsiteX4" fmla="*/ 1180351 w 1180351"/>
              <a:gd name="connsiteY4" fmla="*/ 209062 h 840048"/>
              <a:gd name="connsiteX5" fmla="*/ 1075820 w 1180351"/>
              <a:gd name="connsiteY5" fmla="*/ 209062 h 840048"/>
              <a:gd name="connsiteX6" fmla="*/ 546588 w 1180351"/>
              <a:gd name="connsiteY6" fmla="*/ 836247 h 840048"/>
              <a:gd name="connsiteX7" fmla="*/ 337526 w 1180351"/>
              <a:gd name="connsiteY7" fmla="*/ 836247 h 840048"/>
              <a:gd name="connsiteX8" fmla="*/ 439615 w 1180351"/>
              <a:gd name="connsiteY8" fmla="*/ 836246 h 840048"/>
              <a:gd name="connsiteX9" fmla="*/ 0 w 1180351"/>
              <a:gd name="connsiteY9" fmla="*/ 0 h 840048"/>
              <a:gd name="connsiteX10" fmla="*/ 546588 w 1180351"/>
              <a:gd name="connsiteY10" fmla="*/ 836247 h 840048"/>
              <a:gd name="connsiteX0" fmla="*/ 988645 w 1180351"/>
              <a:gd name="connsiteY0" fmla="*/ 0 h 840048"/>
              <a:gd name="connsiteX1" fmla="*/ 1180351 w 1180351"/>
              <a:gd name="connsiteY1" fmla="*/ 209062 h 840048"/>
              <a:gd name="connsiteX2" fmla="*/ 1075820 w 1180351"/>
              <a:gd name="connsiteY2" fmla="*/ 209062 h 840048"/>
              <a:gd name="connsiteX3" fmla="*/ 442058 w 1180351"/>
              <a:gd name="connsiteY3" fmla="*/ 820812 h 840048"/>
              <a:gd name="connsiteX4" fmla="*/ 866759 w 1180351"/>
              <a:gd name="connsiteY4" fmla="*/ 209062 h 840048"/>
              <a:gd name="connsiteX5" fmla="*/ 762227 w 1180351"/>
              <a:gd name="connsiteY5" fmla="*/ 209062 h 840048"/>
              <a:gd name="connsiteX6" fmla="*/ 988645 w 1180351"/>
              <a:gd name="connsiteY6" fmla="*/ 0 h 840048"/>
              <a:gd name="connsiteX0" fmla="*/ 337526 w 1180351"/>
              <a:gd name="connsiteY0" fmla="*/ 836247 h 840048"/>
              <a:gd name="connsiteX1" fmla="*/ 408353 w 1180351"/>
              <a:gd name="connsiteY1" fmla="*/ 797169 h 840048"/>
              <a:gd name="connsiteX2" fmla="*/ 0 w 1180351"/>
              <a:gd name="connsiteY2" fmla="*/ 0 h 840048"/>
              <a:gd name="connsiteX3" fmla="*/ 546588 w 1180351"/>
              <a:gd name="connsiteY3" fmla="*/ 836247 h 840048"/>
              <a:gd name="connsiteX4" fmla="*/ 337526 w 1180351"/>
              <a:gd name="connsiteY4" fmla="*/ 836247 h 840048"/>
              <a:gd name="connsiteX0" fmla="*/ 442057 w 1180351"/>
              <a:gd name="connsiteY0" fmla="*/ 820812 h 840048"/>
              <a:gd name="connsiteX1" fmla="*/ 866758 w 1180351"/>
              <a:gd name="connsiteY1" fmla="*/ 209062 h 840048"/>
              <a:gd name="connsiteX2" fmla="*/ 762227 w 1180351"/>
              <a:gd name="connsiteY2" fmla="*/ 209062 h 840048"/>
              <a:gd name="connsiteX3" fmla="*/ 988645 w 1180351"/>
              <a:gd name="connsiteY3" fmla="*/ 0 h 840048"/>
              <a:gd name="connsiteX4" fmla="*/ 1180351 w 1180351"/>
              <a:gd name="connsiteY4" fmla="*/ 209062 h 840048"/>
              <a:gd name="connsiteX5" fmla="*/ 1075820 w 1180351"/>
              <a:gd name="connsiteY5" fmla="*/ 209062 h 840048"/>
              <a:gd name="connsiteX6" fmla="*/ 546588 w 1180351"/>
              <a:gd name="connsiteY6" fmla="*/ 836247 h 840048"/>
              <a:gd name="connsiteX7" fmla="*/ 337526 w 1180351"/>
              <a:gd name="connsiteY7" fmla="*/ 836247 h 840048"/>
              <a:gd name="connsiteX8" fmla="*/ 439615 w 1180351"/>
              <a:gd name="connsiteY8" fmla="*/ 836246 h 840048"/>
              <a:gd name="connsiteX9" fmla="*/ 0 w 1180351"/>
              <a:gd name="connsiteY9" fmla="*/ 0 h 840048"/>
              <a:gd name="connsiteX10" fmla="*/ 546588 w 1180351"/>
              <a:gd name="connsiteY10" fmla="*/ 836247 h 840048"/>
              <a:gd name="connsiteX0" fmla="*/ 988645 w 1180351"/>
              <a:gd name="connsiteY0" fmla="*/ 0 h 1030012"/>
              <a:gd name="connsiteX1" fmla="*/ 1180351 w 1180351"/>
              <a:gd name="connsiteY1" fmla="*/ 209062 h 1030012"/>
              <a:gd name="connsiteX2" fmla="*/ 1075820 w 1180351"/>
              <a:gd name="connsiteY2" fmla="*/ 209062 h 1030012"/>
              <a:gd name="connsiteX3" fmla="*/ 442058 w 1180351"/>
              <a:gd name="connsiteY3" fmla="*/ 820812 h 1030012"/>
              <a:gd name="connsiteX4" fmla="*/ 866759 w 1180351"/>
              <a:gd name="connsiteY4" fmla="*/ 209062 h 1030012"/>
              <a:gd name="connsiteX5" fmla="*/ 762227 w 1180351"/>
              <a:gd name="connsiteY5" fmla="*/ 209062 h 1030012"/>
              <a:gd name="connsiteX6" fmla="*/ 988645 w 1180351"/>
              <a:gd name="connsiteY6" fmla="*/ 0 h 1030012"/>
              <a:gd name="connsiteX0" fmla="*/ 337526 w 1180351"/>
              <a:gd name="connsiteY0" fmla="*/ 836247 h 1030012"/>
              <a:gd name="connsiteX1" fmla="*/ 408353 w 1180351"/>
              <a:gd name="connsiteY1" fmla="*/ 797169 h 1030012"/>
              <a:gd name="connsiteX2" fmla="*/ 0 w 1180351"/>
              <a:gd name="connsiteY2" fmla="*/ 0 h 1030012"/>
              <a:gd name="connsiteX3" fmla="*/ 546588 w 1180351"/>
              <a:gd name="connsiteY3" fmla="*/ 836247 h 1030012"/>
              <a:gd name="connsiteX4" fmla="*/ 337526 w 1180351"/>
              <a:gd name="connsiteY4" fmla="*/ 836247 h 1030012"/>
              <a:gd name="connsiteX0" fmla="*/ 442057 w 1180351"/>
              <a:gd name="connsiteY0" fmla="*/ 820812 h 1030012"/>
              <a:gd name="connsiteX1" fmla="*/ 866758 w 1180351"/>
              <a:gd name="connsiteY1" fmla="*/ 209062 h 1030012"/>
              <a:gd name="connsiteX2" fmla="*/ 762227 w 1180351"/>
              <a:gd name="connsiteY2" fmla="*/ 209062 h 1030012"/>
              <a:gd name="connsiteX3" fmla="*/ 988645 w 1180351"/>
              <a:gd name="connsiteY3" fmla="*/ 0 h 1030012"/>
              <a:gd name="connsiteX4" fmla="*/ 1180351 w 1180351"/>
              <a:gd name="connsiteY4" fmla="*/ 209062 h 1030012"/>
              <a:gd name="connsiteX5" fmla="*/ 1075820 w 1180351"/>
              <a:gd name="connsiteY5" fmla="*/ 209062 h 1030012"/>
              <a:gd name="connsiteX6" fmla="*/ 546588 w 1180351"/>
              <a:gd name="connsiteY6" fmla="*/ 836247 h 1030012"/>
              <a:gd name="connsiteX7" fmla="*/ 337526 w 1180351"/>
              <a:gd name="connsiteY7" fmla="*/ 836247 h 1030012"/>
              <a:gd name="connsiteX8" fmla="*/ 439615 w 1180351"/>
              <a:gd name="connsiteY8" fmla="*/ 836246 h 1030012"/>
              <a:gd name="connsiteX9" fmla="*/ 453293 w 1180351"/>
              <a:gd name="connsiteY9" fmla="*/ 820615 h 1030012"/>
              <a:gd name="connsiteX10" fmla="*/ 546588 w 1180351"/>
              <a:gd name="connsiteY10" fmla="*/ 836247 h 1030012"/>
              <a:gd name="connsiteX0" fmla="*/ 988645 w 1180351"/>
              <a:gd name="connsiteY0" fmla="*/ 0 h 1030012"/>
              <a:gd name="connsiteX1" fmla="*/ 1180351 w 1180351"/>
              <a:gd name="connsiteY1" fmla="*/ 209062 h 1030012"/>
              <a:gd name="connsiteX2" fmla="*/ 1075820 w 1180351"/>
              <a:gd name="connsiteY2" fmla="*/ 209062 h 1030012"/>
              <a:gd name="connsiteX3" fmla="*/ 442058 w 1180351"/>
              <a:gd name="connsiteY3" fmla="*/ 820812 h 1030012"/>
              <a:gd name="connsiteX4" fmla="*/ 866759 w 1180351"/>
              <a:gd name="connsiteY4" fmla="*/ 209062 h 1030012"/>
              <a:gd name="connsiteX5" fmla="*/ 762227 w 1180351"/>
              <a:gd name="connsiteY5" fmla="*/ 209062 h 1030012"/>
              <a:gd name="connsiteX6" fmla="*/ 988645 w 1180351"/>
              <a:gd name="connsiteY6" fmla="*/ 0 h 1030012"/>
              <a:gd name="connsiteX0" fmla="*/ 337526 w 1180351"/>
              <a:gd name="connsiteY0" fmla="*/ 836247 h 1030012"/>
              <a:gd name="connsiteX1" fmla="*/ 408353 w 1180351"/>
              <a:gd name="connsiteY1" fmla="*/ 797169 h 1030012"/>
              <a:gd name="connsiteX2" fmla="*/ 0 w 1180351"/>
              <a:gd name="connsiteY2" fmla="*/ 0 h 1030012"/>
              <a:gd name="connsiteX3" fmla="*/ 546588 w 1180351"/>
              <a:gd name="connsiteY3" fmla="*/ 836247 h 1030012"/>
              <a:gd name="connsiteX4" fmla="*/ 337526 w 1180351"/>
              <a:gd name="connsiteY4" fmla="*/ 836247 h 1030012"/>
              <a:gd name="connsiteX0" fmla="*/ 442057 w 1180351"/>
              <a:gd name="connsiteY0" fmla="*/ 820812 h 1030012"/>
              <a:gd name="connsiteX1" fmla="*/ 866758 w 1180351"/>
              <a:gd name="connsiteY1" fmla="*/ 209062 h 1030012"/>
              <a:gd name="connsiteX2" fmla="*/ 762227 w 1180351"/>
              <a:gd name="connsiteY2" fmla="*/ 209062 h 1030012"/>
              <a:gd name="connsiteX3" fmla="*/ 988645 w 1180351"/>
              <a:gd name="connsiteY3" fmla="*/ 0 h 1030012"/>
              <a:gd name="connsiteX4" fmla="*/ 1180351 w 1180351"/>
              <a:gd name="connsiteY4" fmla="*/ 209062 h 1030012"/>
              <a:gd name="connsiteX5" fmla="*/ 1075820 w 1180351"/>
              <a:gd name="connsiteY5" fmla="*/ 209062 h 1030012"/>
              <a:gd name="connsiteX6" fmla="*/ 546588 w 1180351"/>
              <a:gd name="connsiteY6" fmla="*/ 836247 h 1030012"/>
              <a:gd name="connsiteX7" fmla="*/ 337526 w 1180351"/>
              <a:gd name="connsiteY7" fmla="*/ 836247 h 1030012"/>
              <a:gd name="connsiteX8" fmla="*/ 439615 w 1180351"/>
              <a:gd name="connsiteY8" fmla="*/ 836246 h 1030012"/>
              <a:gd name="connsiteX9" fmla="*/ 453293 w 1180351"/>
              <a:gd name="connsiteY9" fmla="*/ 820615 h 1030012"/>
              <a:gd name="connsiteX10" fmla="*/ 546588 w 1180351"/>
              <a:gd name="connsiteY10" fmla="*/ 836247 h 1030012"/>
              <a:gd name="connsiteX0" fmla="*/ 988645 w 1180351"/>
              <a:gd name="connsiteY0" fmla="*/ 0 h 840180"/>
              <a:gd name="connsiteX1" fmla="*/ 1180351 w 1180351"/>
              <a:gd name="connsiteY1" fmla="*/ 209062 h 840180"/>
              <a:gd name="connsiteX2" fmla="*/ 1075820 w 1180351"/>
              <a:gd name="connsiteY2" fmla="*/ 209062 h 840180"/>
              <a:gd name="connsiteX3" fmla="*/ 442058 w 1180351"/>
              <a:gd name="connsiteY3" fmla="*/ 820812 h 840180"/>
              <a:gd name="connsiteX4" fmla="*/ 866759 w 1180351"/>
              <a:gd name="connsiteY4" fmla="*/ 209062 h 840180"/>
              <a:gd name="connsiteX5" fmla="*/ 762227 w 1180351"/>
              <a:gd name="connsiteY5" fmla="*/ 209062 h 840180"/>
              <a:gd name="connsiteX6" fmla="*/ 988645 w 1180351"/>
              <a:gd name="connsiteY6" fmla="*/ 0 h 840180"/>
              <a:gd name="connsiteX0" fmla="*/ 337526 w 1180351"/>
              <a:gd name="connsiteY0" fmla="*/ 836247 h 840180"/>
              <a:gd name="connsiteX1" fmla="*/ 408353 w 1180351"/>
              <a:gd name="connsiteY1" fmla="*/ 797169 h 840180"/>
              <a:gd name="connsiteX2" fmla="*/ 0 w 1180351"/>
              <a:gd name="connsiteY2" fmla="*/ 0 h 840180"/>
              <a:gd name="connsiteX3" fmla="*/ 546588 w 1180351"/>
              <a:gd name="connsiteY3" fmla="*/ 836247 h 840180"/>
              <a:gd name="connsiteX4" fmla="*/ 337526 w 1180351"/>
              <a:gd name="connsiteY4" fmla="*/ 836247 h 840180"/>
              <a:gd name="connsiteX0" fmla="*/ 442057 w 1180351"/>
              <a:gd name="connsiteY0" fmla="*/ 820812 h 840180"/>
              <a:gd name="connsiteX1" fmla="*/ 866758 w 1180351"/>
              <a:gd name="connsiteY1" fmla="*/ 209062 h 840180"/>
              <a:gd name="connsiteX2" fmla="*/ 762227 w 1180351"/>
              <a:gd name="connsiteY2" fmla="*/ 209062 h 840180"/>
              <a:gd name="connsiteX3" fmla="*/ 988645 w 1180351"/>
              <a:gd name="connsiteY3" fmla="*/ 0 h 840180"/>
              <a:gd name="connsiteX4" fmla="*/ 1180351 w 1180351"/>
              <a:gd name="connsiteY4" fmla="*/ 209062 h 840180"/>
              <a:gd name="connsiteX5" fmla="*/ 1075820 w 1180351"/>
              <a:gd name="connsiteY5" fmla="*/ 209062 h 840180"/>
              <a:gd name="connsiteX6" fmla="*/ 546588 w 1180351"/>
              <a:gd name="connsiteY6" fmla="*/ 836247 h 840180"/>
              <a:gd name="connsiteX7" fmla="*/ 337526 w 1180351"/>
              <a:gd name="connsiteY7" fmla="*/ 836247 h 840180"/>
              <a:gd name="connsiteX8" fmla="*/ 439615 w 1180351"/>
              <a:gd name="connsiteY8" fmla="*/ 836246 h 840180"/>
              <a:gd name="connsiteX9" fmla="*/ 453293 w 1180351"/>
              <a:gd name="connsiteY9" fmla="*/ 820615 h 840180"/>
              <a:gd name="connsiteX10" fmla="*/ 546588 w 1180351"/>
              <a:gd name="connsiteY10" fmla="*/ 836247 h 840180"/>
              <a:gd name="connsiteX0" fmla="*/ 760640 w 952346"/>
              <a:gd name="connsiteY0" fmla="*/ 0 h 1018680"/>
              <a:gd name="connsiteX1" fmla="*/ 952346 w 952346"/>
              <a:gd name="connsiteY1" fmla="*/ 209062 h 1018680"/>
              <a:gd name="connsiteX2" fmla="*/ 847815 w 952346"/>
              <a:gd name="connsiteY2" fmla="*/ 209062 h 1018680"/>
              <a:gd name="connsiteX3" fmla="*/ 214053 w 952346"/>
              <a:gd name="connsiteY3" fmla="*/ 820812 h 1018680"/>
              <a:gd name="connsiteX4" fmla="*/ 638754 w 952346"/>
              <a:gd name="connsiteY4" fmla="*/ 209062 h 1018680"/>
              <a:gd name="connsiteX5" fmla="*/ 534222 w 952346"/>
              <a:gd name="connsiteY5" fmla="*/ 209062 h 1018680"/>
              <a:gd name="connsiteX6" fmla="*/ 760640 w 952346"/>
              <a:gd name="connsiteY6" fmla="*/ 0 h 1018680"/>
              <a:gd name="connsiteX0" fmla="*/ 109521 w 952346"/>
              <a:gd name="connsiteY0" fmla="*/ 836247 h 1018680"/>
              <a:gd name="connsiteX1" fmla="*/ 180348 w 952346"/>
              <a:gd name="connsiteY1" fmla="*/ 797169 h 1018680"/>
              <a:gd name="connsiteX2" fmla="*/ 201841 w 952346"/>
              <a:gd name="connsiteY2" fmla="*/ 804985 h 1018680"/>
              <a:gd name="connsiteX3" fmla="*/ 318583 w 952346"/>
              <a:gd name="connsiteY3" fmla="*/ 836247 h 1018680"/>
              <a:gd name="connsiteX4" fmla="*/ 109521 w 952346"/>
              <a:gd name="connsiteY4" fmla="*/ 836247 h 1018680"/>
              <a:gd name="connsiteX0" fmla="*/ 214052 w 952346"/>
              <a:gd name="connsiteY0" fmla="*/ 820812 h 1018680"/>
              <a:gd name="connsiteX1" fmla="*/ 638753 w 952346"/>
              <a:gd name="connsiteY1" fmla="*/ 209062 h 1018680"/>
              <a:gd name="connsiteX2" fmla="*/ 534222 w 952346"/>
              <a:gd name="connsiteY2" fmla="*/ 209062 h 1018680"/>
              <a:gd name="connsiteX3" fmla="*/ 760640 w 952346"/>
              <a:gd name="connsiteY3" fmla="*/ 0 h 1018680"/>
              <a:gd name="connsiteX4" fmla="*/ 952346 w 952346"/>
              <a:gd name="connsiteY4" fmla="*/ 209062 h 1018680"/>
              <a:gd name="connsiteX5" fmla="*/ 847815 w 952346"/>
              <a:gd name="connsiteY5" fmla="*/ 209062 h 1018680"/>
              <a:gd name="connsiteX6" fmla="*/ 318583 w 952346"/>
              <a:gd name="connsiteY6" fmla="*/ 836247 h 1018680"/>
              <a:gd name="connsiteX7" fmla="*/ 109521 w 952346"/>
              <a:gd name="connsiteY7" fmla="*/ 836247 h 1018680"/>
              <a:gd name="connsiteX8" fmla="*/ 211610 w 952346"/>
              <a:gd name="connsiteY8" fmla="*/ 836246 h 1018680"/>
              <a:gd name="connsiteX9" fmla="*/ 225288 w 952346"/>
              <a:gd name="connsiteY9" fmla="*/ 820615 h 1018680"/>
              <a:gd name="connsiteX10" fmla="*/ 318583 w 952346"/>
              <a:gd name="connsiteY10" fmla="*/ 836247 h 1018680"/>
              <a:gd name="connsiteX0" fmla="*/ 760640 w 952346"/>
              <a:gd name="connsiteY0" fmla="*/ 0 h 928141"/>
              <a:gd name="connsiteX1" fmla="*/ 952346 w 952346"/>
              <a:gd name="connsiteY1" fmla="*/ 209062 h 928141"/>
              <a:gd name="connsiteX2" fmla="*/ 847815 w 952346"/>
              <a:gd name="connsiteY2" fmla="*/ 209062 h 928141"/>
              <a:gd name="connsiteX3" fmla="*/ 214053 w 952346"/>
              <a:gd name="connsiteY3" fmla="*/ 820812 h 928141"/>
              <a:gd name="connsiteX4" fmla="*/ 638754 w 952346"/>
              <a:gd name="connsiteY4" fmla="*/ 209062 h 928141"/>
              <a:gd name="connsiteX5" fmla="*/ 534222 w 952346"/>
              <a:gd name="connsiteY5" fmla="*/ 209062 h 928141"/>
              <a:gd name="connsiteX6" fmla="*/ 760640 w 952346"/>
              <a:gd name="connsiteY6" fmla="*/ 0 h 928141"/>
              <a:gd name="connsiteX0" fmla="*/ 109521 w 952346"/>
              <a:gd name="connsiteY0" fmla="*/ 836247 h 928141"/>
              <a:gd name="connsiteX1" fmla="*/ 180348 w 952346"/>
              <a:gd name="connsiteY1" fmla="*/ 797169 h 928141"/>
              <a:gd name="connsiteX2" fmla="*/ 201841 w 952346"/>
              <a:gd name="connsiteY2" fmla="*/ 804985 h 928141"/>
              <a:gd name="connsiteX3" fmla="*/ 318583 w 952346"/>
              <a:gd name="connsiteY3" fmla="*/ 836247 h 928141"/>
              <a:gd name="connsiteX4" fmla="*/ 109521 w 952346"/>
              <a:gd name="connsiteY4" fmla="*/ 836247 h 928141"/>
              <a:gd name="connsiteX0" fmla="*/ 214052 w 952346"/>
              <a:gd name="connsiteY0" fmla="*/ 820812 h 928141"/>
              <a:gd name="connsiteX1" fmla="*/ 638753 w 952346"/>
              <a:gd name="connsiteY1" fmla="*/ 209062 h 928141"/>
              <a:gd name="connsiteX2" fmla="*/ 534222 w 952346"/>
              <a:gd name="connsiteY2" fmla="*/ 209062 h 928141"/>
              <a:gd name="connsiteX3" fmla="*/ 760640 w 952346"/>
              <a:gd name="connsiteY3" fmla="*/ 0 h 928141"/>
              <a:gd name="connsiteX4" fmla="*/ 952346 w 952346"/>
              <a:gd name="connsiteY4" fmla="*/ 209062 h 928141"/>
              <a:gd name="connsiteX5" fmla="*/ 847815 w 952346"/>
              <a:gd name="connsiteY5" fmla="*/ 209062 h 928141"/>
              <a:gd name="connsiteX6" fmla="*/ 318583 w 952346"/>
              <a:gd name="connsiteY6" fmla="*/ 836247 h 928141"/>
              <a:gd name="connsiteX7" fmla="*/ 109521 w 952346"/>
              <a:gd name="connsiteY7" fmla="*/ 836247 h 928141"/>
              <a:gd name="connsiteX8" fmla="*/ 211610 w 952346"/>
              <a:gd name="connsiteY8" fmla="*/ 836246 h 928141"/>
              <a:gd name="connsiteX9" fmla="*/ 225288 w 952346"/>
              <a:gd name="connsiteY9" fmla="*/ 820615 h 928141"/>
              <a:gd name="connsiteX10" fmla="*/ 318583 w 952346"/>
              <a:gd name="connsiteY10" fmla="*/ 836247 h 928141"/>
              <a:gd name="connsiteX0" fmla="*/ 760640 w 952346"/>
              <a:gd name="connsiteY0" fmla="*/ 0 h 840180"/>
              <a:gd name="connsiteX1" fmla="*/ 952346 w 952346"/>
              <a:gd name="connsiteY1" fmla="*/ 209062 h 840180"/>
              <a:gd name="connsiteX2" fmla="*/ 847815 w 952346"/>
              <a:gd name="connsiteY2" fmla="*/ 209062 h 840180"/>
              <a:gd name="connsiteX3" fmla="*/ 214053 w 952346"/>
              <a:gd name="connsiteY3" fmla="*/ 820812 h 840180"/>
              <a:gd name="connsiteX4" fmla="*/ 638754 w 952346"/>
              <a:gd name="connsiteY4" fmla="*/ 209062 h 840180"/>
              <a:gd name="connsiteX5" fmla="*/ 534222 w 952346"/>
              <a:gd name="connsiteY5" fmla="*/ 209062 h 840180"/>
              <a:gd name="connsiteX6" fmla="*/ 760640 w 952346"/>
              <a:gd name="connsiteY6" fmla="*/ 0 h 840180"/>
              <a:gd name="connsiteX0" fmla="*/ 109521 w 952346"/>
              <a:gd name="connsiteY0" fmla="*/ 836247 h 840180"/>
              <a:gd name="connsiteX1" fmla="*/ 180348 w 952346"/>
              <a:gd name="connsiteY1" fmla="*/ 797169 h 840180"/>
              <a:gd name="connsiteX2" fmla="*/ 201841 w 952346"/>
              <a:gd name="connsiteY2" fmla="*/ 804985 h 840180"/>
              <a:gd name="connsiteX3" fmla="*/ 318583 w 952346"/>
              <a:gd name="connsiteY3" fmla="*/ 836247 h 840180"/>
              <a:gd name="connsiteX4" fmla="*/ 109521 w 952346"/>
              <a:gd name="connsiteY4" fmla="*/ 836247 h 840180"/>
              <a:gd name="connsiteX0" fmla="*/ 214052 w 952346"/>
              <a:gd name="connsiteY0" fmla="*/ 820812 h 840180"/>
              <a:gd name="connsiteX1" fmla="*/ 638753 w 952346"/>
              <a:gd name="connsiteY1" fmla="*/ 209062 h 840180"/>
              <a:gd name="connsiteX2" fmla="*/ 534222 w 952346"/>
              <a:gd name="connsiteY2" fmla="*/ 209062 h 840180"/>
              <a:gd name="connsiteX3" fmla="*/ 760640 w 952346"/>
              <a:gd name="connsiteY3" fmla="*/ 0 h 840180"/>
              <a:gd name="connsiteX4" fmla="*/ 952346 w 952346"/>
              <a:gd name="connsiteY4" fmla="*/ 209062 h 840180"/>
              <a:gd name="connsiteX5" fmla="*/ 847815 w 952346"/>
              <a:gd name="connsiteY5" fmla="*/ 209062 h 840180"/>
              <a:gd name="connsiteX6" fmla="*/ 318583 w 952346"/>
              <a:gd name="connsiteY6" fmla="*/ 836247 h 840180"/>
              <a:gd name="connsiteX7" fmla="*/ 109521 w 952346"/>
              <a:gd name="connsiteY7" fmla="*/ 836247 h 840180"/>
              <a:gd name="connsiteX8" fmla="*/ 211610 w 952346"/>
              <a:gd name="connsiteY8" fmla="*/ 836246 h 840180"/>
              <a:gd name="connsiteX9" fmla="*/ 225288 w 952346"/>
              <a:gd name="connsiteY9" fmla="*/ 820615 h 840180"/>
              <a:gd name="connsiteX10" fmla="*/ 318583 w 952346"/>
              <a:gd name="connsiteY10" fmla="*/ 836247 h 8401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952346" h="840180" stroke="0" extrusionOk="0">
                <a:moveTo>
                  <a:pt x="760640" y="0"/>
                </a:moveTo>
                <a:lnTo>
                  <a:pt x="952346" y="209062"/>
                </a:lnTo>
                <a:lnTo>
                  <a:pt x="847815" y="209062"/>
                </a:lnTo>
                <a:cubicBezTo>
                  <a:pt x="775543" y="637308"/>
                  <a:pt x="497807" y="905397"/>
                  <a:pt x="214053" y="820812"/>
                </a:cubicBezTo>
                <a:cubicBezTo>
                  <a:pt x="420852" y="759167"/>
                  <a:pt x="586082" y="521165"/>
                  <a:pt x="638754" y="209062"/>
                </a:cubicBezTo>
                <a:lnTo>
                  <a:pt x="534222" y="209062"/>
                </a:lnTo>
                <a:lnTo>
                  <a:pt x="760640" y="0"/>
                </a:lnTo>
                <a:close/>
              </a:path>
              <a:path w="952346" h="840180" fill="darkenLess" stroke="0" extrusionOk="0">
                <a:moveTo>
                  <a:pt x="109521" y="836247"/>
                </a:moveTo>
                <a:cubicBezTo>
                  <a:pt x="174972" y="844063"/>
                  <a:pt x="250687" y="836985"/>
                  <a:pt x="180348" y="797169"/>
                </a:cubicBezTo>
                <a:cubicBezTo>
                  <a:pt x="239615" y="828431"/>
                  <a:pt x="205097" y="804985"/>
                  <a:pt x="201841" y="804985"/>
                </a:cubicBezTo>
                <a:cubicBezTo>
                  <a:pt x="233103" y="805723"/>
                  <a:pt x="16711" y="836247"/>
                  <a:pt x="318583" y="836247"/>
                </a:cubicBezTo>
                <a:lnTo>
                  <a:pt x="109521" y="836247"/>
                </a:lnTo>
                <a:close/>
              </a:path>
              <a:path w="952346" h="840180" fill="none" extrusionOk="0">
                <a:moveTo>
                  <a:pt x="214052" y="820812"/>
                </a:moveTo>
                <a:cubicBezTo>
                  <a:pt x="420851" y="759167"/>
                  <a:pt x="586081" y="521165"/>
                  <a:pt x="638753" y="209062"/>
                </a:cubicBezTo>
                <a:lnTo>
                  <a:pt x="534222" y="209062"/>
                </a:lnTo>
                <a:lnTo>
                  <a:pt x="760640" y="0"/>
                </a:lnTo>
                <a:lnTo>
                  <a:pt x="952346" y="209062"/>
                </a:lnTo>
                <a:lnTo>
                  <a:pt x="847815" y="209062"/>
                </a:lnTo>
                <a:cubicBezTo>
                  <a:pt x="785504" y="578280"/>
                  <a:pt x="567827" y="836247"/>
                  <a:pt x="318583" y="836247"/>
                </a:cubicBezTo>
                <a:lnTo>
                  <a:pt x="109521" y="836247"/>
                </a:lnTo>
                <a:cubicBezTo>
                  <a:pt x="-192351" y="836247"/>
                  <a:pt x="227240" y="844800"/>
                  <a:pt x="211610" y="836246"/>
                </a:cubicBezTo>
                <a:cubicBezTo>
                  <a:pt x="229195" y="854482"/>
                  <a:pt x="238964" y="802380"/>
                  <a:pt x="225288" y="820615"/>
                </a:cubicBezTo>
                <a:cubicBezTo>
                  <a:pt x="256549" y="813538"/>
                  <a:pt x="16711" y="836247"/>
                  <a:pt x="318583" y="836247"/>
                </a:cubicBezTo>
              </a:path>
            </a:pathLst>
          </a:cu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E87EF6E-24A8-4731-BD6E-CDD660D36E1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2165" name="think-cell Slide" r:id="rId5" imgW="396" imgH="396" progId="TCLayout.ActiveDocument.1">
                  <p:embed/>
                </p:oleObj>
              </mc:Choice>
              <mc:Fallback>
                <p:oleObj name="think-cell Slide" r:id="rId5" imgW="396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E87EF6E-24A8-4731-BD6E-CDD660D36E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A4F164E8-043D-4227-9E5F-DD7DEC8BF07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798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Expo"/>
              <a:ea typeface="+mn-ea"/>
              <a:cs typeface="Arial" panose="020B0604020202020204" pitchFamily="34" charset="0"/>
              <a:sym typeface="Expo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pdate your registration detail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n-US" dirty="0"/>
              <a:t>At any point, you can update your company’s registration details with us</a:t>
            </a:r>
          </a:p>
        </p:txBody>
      </p:sp>
      <p:sp>
        <p:nvSpPr>
          <p:cNvPr id="19" name="Rectangle 18"/>
          <p:cNvSpPr/>
          <p:nvPr/>
        </p:nvSpPr>
        <p:spPr>
          <a:xfrm>
            <a:off x="6174042" y="1407554"/>
            <a:ext cx="5791311" cy="17081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  <a:buClr>
                <a:schemeClr val="bg2"/>
              </a:buClr>
            </a:pPr>
            <a:r>
              <a:rPr lang="en-US" dirty="0">
                <a:latin typeface="+mn-lt"/>
              </a:rPr>
              <a:t>Login to your Ariba account </a:t>
            </a:r>
            <a:r>
              <a:rPr lang="en-US" dirty="0">
                <a:latin typeface="+mn-lt"/>
                <a:hlinkClick r:id="rId7"/>
              </a:rPr>
              <a:t>here</a:t>
            </a:r>
            <a:endParaRPr lang="en-US" dirty="0">
              <a:latin typeface="+mn-lt"/>
            </a:endParaRPr>
          </a:p>
          <a:p>
            <a:pPr marL="342900" indent="-342900">
              <a:spcAft>
                <a:spcPts val="600"/>
              </a:spcAft>
              <a:buClr>
                <a:schemeClr val="bg2"/>
              </a:buClr>
              <a:buFont typeface="+mj-lt"/>
              <a:buAutoNum type="arabicPeriod"/>
            </a:pPr>
            <a:r>
              <a:rPr lang="en-US" dirty="0">
                <a:latin typeface="+mn-lt"/>
              </a:rPr>
              <a:t>Navigate to ‘Ariba Proposals &amp; Questionnaires’</a:t>
            </a:r>
          </a:p>
          <a:p>
            <a:pPr marL="342900" indent="-342900">
              <a:spcAft>
                <a:spcPts val="600"/>
              </a:spcAft>
              <a:buClr>
                <a:schemeClr val="bg2"/>
              </a:buClr>
              <a:buFont typeface="+mj-lt"/>
              <a:buAutoNum type="arabicPeriod"/>
            </a:pPr>
            <a:r>
              <a:rPr lang="en-US" dirty="0">
                <a:latin typeface="+mn-lt"/>
              </a:rPr>
              <a:t>Click to open the Supplier Registration form</a:t>
            </a:r>
          </a:p>
          <a:p>
            <a:pPr marL="342900" indent="-342900">
              <a:spcAft>
                <a:spcPts val="600"/>
              </a:spcAft>
              <a:buClr>
                <a:schemeClr val="bg2"/>
              </a:buClr>
              <a:buFont typeface="+mj-lt"/>
              <a:buAutoNum type="arabicPeriod"/>
            </a:pPr>
            <a:r>
              <a:rPr lang="en-US" dirty="0">
                <a:latin typeface="+mn-lt"/>
              </a:rPr>
              <a:t>Click ‘Revise </a:t>
            </a:r>
            <a:r>
              <a:rPr lang="en-US" dirty="0" err="1">
                <a:latin typeface="+mn-lt"/>
              </a:rPr>
              <a:t>Reponse</a:t>
            </a:r>
            <a:r>
              <a:rPr lang="en-US" dirty="0">
                <a:latin typeface="+mn-lt"/>
              </a:rPr>
              <a:t>’ button to edit your existing answers and re-submit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4337" y="1638947"/>
            <a:ext cx="5486400" cy="2766523"/>
          </a:xfrm>
          <a:prstGeom prst="rect">
            <a:avLst/>
          </a:prstGeom>
          <a:effectLst>
            <a:outerShdw blurRad="63500" sx="103000" sy="103000" algn="ctr" rotWithShape="0">
              <a:prstClr val="black">
                <a:alpha val="10000"/>
              </a:prstClr>
            </a:outerShdw>
          </a:effectLst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40AEE061-6DE7-48D5-9661-A7DF4451E2AD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47010" y="3349096"/>
            <a:ext cx="7315200" cy="3032855"/>
          </a:xfrm>
          <a:prstGeom prst="rect">
            <a:avLst/>
          </a:prstGeom>
          <a:effectLst>
            <a:outerShdw blurRad="63500" sx="103000" sy="103000" algn="ctr" rotWithShape="0">
              <a:prstClr val="black">
                <a:alpha val="10000"/>
              </a:prstClr>
            </a:outerShdw>
          </a:effectLst>
        </p:spPr>
      </p:pic>
      <p:sp>
        <p:nvSpPr>
          <p:cNvPr id="17" name="Rounded Rectangle 16"/>
          <p:cNvSpPr/>
          <p:nvPr/>
        </p:nvSpPr>
        <p:spPr>
          <a:xfrm>
            <a:off x="433662" y="3559284"/>
            <a:ext cx="1761616" cy="994631"/>
          </a:xfrm>
          <a:prstGeom prst="roundRect">
            <a:avLst/>
          </a:prstGeom>
          <a:noFill/>
          <a:ln w="28575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ounded Rectangle 19"/>
          <p:cNvSpPr/>
          <p:nvPr/>
        </p:nvSpPr>
        <p:spPr>
          <a:xfrm>
            <a:off x="828339" y="1530263"/>
            <a:ext cx="1648293" cy="415900"/>
          </a:xfrm>
          <a:prstGeom prst="roundRect">
            <a:avLst/>
          </a:prstGeom>
          <a:noFill/>
          <a:ln w="28575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8037592" y="3976322"/>
            <a:ext cx="385042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800" b="1" dirty="0">
                <a:solidFill>
                  <a:schemeClr val="bg2"/>
                </a:solidFill>
              </a:rPr>
              <a:t>3</a:t>
            </a:r>
          </a:p>
        </p:txBody>
      </p:sp>
      <p:sp>
        <p:nvSpPr>
          <p:cNvPr id="21" name="Rectangle 20"/>
          <p:cNvSpPr/>
          <p:nvPr/>
        </p:nvSpPr>
        <p:spPr>
          <a:xfrm>
            <a:off x="520053" y="1178893"/>
            <a:ext cx="385042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800" b="1" dirty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22" name="Rectangle 21"/>
          <p:cNvSpPr/>
          <p:nvPr/>
        </p:nvSpPr>
        <p:spPr>
          <a:xfrm>
            <a:off x="1617648" y="3757493"/>
            <a:ext cx="385042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800" b="1" dirty="0">
                <a:solidFill>
                  <a:schemeClr val="bg2"/>
                </a:solidFill>
              </a:rPr>
              <a:t>2</a:t>
            </a:r>
          </a:p>
        </p:txBody>
      </p:sp>
      <p:sp>
        <p:nvSpPr>
          <p:cNvPr id="23" name="Rounded Rectangle 22"/>
          <p:cNvSpPr/>
          <p:nvPr/>
        </p:nvSpPr>
        <p:spPr>
          <a:xfrm>
            <a:off x="7952469" y="3908155"/>
            <a:ext cx="1816762" cy="591388"/>
          </a:xfrm>
          <a:prstGeom prst="roundRect">
            <a:avLst/>
          </a:prstGeom>
          <a:noFill/>
          <a:ln w="28575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90104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74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3&quot;&gt;&lt;elem m_fUsage=&quot;5.52398699012936589270E+00&quot;&gt;&lt;m_msothmcolidx val=&quot;0&quot;/&gt;&lt;m_rgb r=&quot;15&quot; g=&quot;B4&quot; b=&quot;FF&quot;/&gt;&lt;m_nBrightness val=&quot;0&quot;/&gt;&lt;/elem&gt;&lt;elem m_fUsage=&quot;2.99489745229366466361E+00&quot;&gt;&lt;m_msothmcolidx val=&quot;0&quot;/&gt;&lt;m_rgb r=&quot;F5&quot; g=&quot;22&quot; b=&quot;03&quot;/&gt;&lt;m_nBrightness val=&quot;0&quot;/&gt;&lt;/elem&gt;&lt;elem m_fUsage=&quot;9.57767924549610238927E-01&quot;&gt;&lt;m_msothmcolidx val=&quot;0&quot;/&gt;&lt;m_rgb r=&quot;FF&quot; g=&quot;C2&quot; b=&quot;35&quot;/&gt;&lt;m_nBrightness val=&quot;0&quot;/&gt;&lt;/elem&gt;&lt;/m_vecMRU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8iob5kPRGC2Xc7CrA_BQ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PUGJa7kS8Gp9Sq23Nfsp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PUGJa7kS8Gp9Sq23Nfsp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PUGJa7kS8Gp9Sq23Nfsp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PUGJa7kS8Gp9Sq23Nfsp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PUGJa7kS8Gp9Sq23Nfsp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PUGJa7kS8Gp9Sq23Nfsp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PUGJa7kS8Gp9Sq23Nfsp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pHKjHyQHu6bj9Nv17LH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xpo2020">
  <a:themeElements>
    <a:clrScheme name="Expo2020">
      <a:dk1>
        <a:srgbClr val="4E3524"/>
      </a:dk1>
      <a:lt1>
        <a:sysClr val="window" lastClr="FFFFFF"/>
      </a:lt1>
      <a:dk2>
        <a:srgbClr val="4E3524"/>
      </a:dk2>
      <a:lt2>
        <a:srgbClr val="ED8B00"/>
      </a:lt2>
      <a:accent1>
        <a:srgbClr val="4E3524"/>
      </a:accent1>
      <a:accent2>
        <a:srgbClr val="E35205"/>
      </a:accent2>
      <a:accent3>
        <a:srgbClr val="ED8B00"/>
      </a:accent3>
      <a:accent4>
        <a:srgbClr val="FFCD00"/>
      </a:accent4>
      <a:accent5>
        <a:srgbClr val="C5B9AC"/>
      </a:accent5>
      <a:accent6>
        <a:srgbClr val="9E6133"/>
      </a:accent6>
      <a:hlink>
        <a:srgbClr val="E35205"/>
      </a:hlink>
      <a:folHlink>
        <a:srgbClr val="ED8B00"/>
      </a:folHlink>
    </a:clrScheme>
    <a:fontScheme name="Expo 2020">
      <a:majorFont>
        <a:latin typeface="Expo Office"/>
        <a:ea typeface=""/>
        <a:cs typeface=""/>
      </a:majorFont>
      <a:minorFont>
        <a:latin typeface="Expo Offi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BC60172AC35C47BD15B713BE29B619" ma:contentTypeVersion="1" ma:contentTypeDescription="Create a new document." ma:contentTypeScope="" ma:versionID="552564bd44b167d0c078adc36bc307c6">
  <xsd:schema xmlns:xsd="http://www.w3.org/2001/XMLSchema" xmlns:xs="http://www.w3.org/2001/XMLSchema" xmlns:p="http://schemas.microsoft.com/office/2006/metadata/properties" xmlns:ns2="14e67731-1e3f-4da5-9320-d0b88a4f777a" targetNamespace="http://schemas.microsoft.com/office/2006/metadata/properties" ma:root="true" ma:fieldsID="42ce9b6b25f72465b992ce5f45fc1d4f" ns2:_="">
    <xsd:import namespace="14e67731-1e3f-4da5-9320-d0b88a4f777a"/>
    <xsd:element name="properties">
      <xsd:complexType>
        <xsd:sequence>
          <xsd:element name="documentManagement">
            <xsd:complexType>
              <xsd:all>
                <xsd:element ref="ns2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4e67731-1e3f-4da5-9320-d0b88a4f777a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BFD821B-7E44-421F-86B3-B6ACB3D85F4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4e67731-1e3f-4da5-9320-d0b88a4f777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14C5BF91-12E9-4121-A2F0-5D7BF991F5F7}">
  <ds:schemaRefs>
    <ds:schemaRef ds:uri="http://purl.org/dc/dcmitype/"/>
    <ds:schemaRef ds:uri="14e67731-1e3f-4da5-9320-d0b88a4f777a"/>
    <ds:schemaRef ds:uri="http://purl.org/dc/elements/1.1/"/>
    <ds:schemaRef ds:uri="http://purl.org/dc/terms/"/>
    <ds:schemaRef ds:uri="http://schemas.microsoft.com/office/2006/documentManagement/types"/>
    <ds:schemaRef ds:uri="http://schemas.openxmlformats.org/package/2006/metadata/core-properties"/>
    <ds:schemaRef ds:uri="http://schemas.microsoft.com/office/2006/metadata/properties"/>
    <ds:schemaRef ds:uri="http://www.w3.org/XML/1998/namespace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819A0F9A-BFA3-4944-B217-926FE002A24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8011</TotalTime>
  <Words>418</Words>
  <Application>Microsoft Office PowerPoint</Application>
  <PresentationFormat>Widescreen</PresentationFormat>
  <Paragraphs>54</Paragraphs>
  <Slides>8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5" baseType="lpstr">
      <vt:lpstr>Arial</vt:lpstr>
      <vt:lpstr>Bodoni MT Black</vt:lpstr>
      <vt:lpstr>Calibri</vt:lpstr>
      <vt:lpstr>Expo</vt:lpstr>
      <vt:lpstr>Expo Office</vt:lpstr>
      <vt:lpstr>Expo2020</vt:lpstr>
      <vt:lpstr>think-cell Slide</vt:lpstr>
      <vt:lpstr>Expo City Dubai Ariba Guide for Supplier Registration</vt:lpstr>
      <vt:lpstr>Complete Supplier Registration by Invitation</vt:lpstr>
      <vt:lpstr>Login to your existing Ariba account</vt:lpstr>
      <vt:lpstr>Complete supplier registration questionnaire</vt:lpstr>
      <vt:lpstr>Complete supplier registration questionnaire</vt:lpstr>
      <vt:lpstr>Complete supplier registration questionnaire</vt:lpstr>
      <vt:lpstr>Complete supplier registration questionnaire</vt:lpstr>
      <vt:lpstr>Update your registration details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xpo 2020 Dubai Ariba Guide - Supplier Request &amp; Registration</dc:title>
  <dc:subject>Expo2020 IFT Weekly Status Update As Of May 3rd, 2018</dc:subject>
  <dc:creator>Stephen Nash</dc:creator>
  <cp:keywords/>
  <dc:description/>
  <cp:lastModifiedBy>Munmun Khaitan</cp:lastModifiedBy>
  <cp:revision>2759</cp:revision>
  <cp:lastPrinted>2019-03-12T07:28:05Z</cp:lastPrinted>
  <dcterms:created xsi:type="dcterms:W3CDTF">2018-02-02T04:02:36Z</dcterms:created>
  <dcterms:modified xsi:type="dcterms:W3CDTF">2023-01-31T10:17:45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4BC60172AC35C47BD15B713BE29B619</vt:lpwstr>
  </property>
</Properties>
</file>